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</p:sldMasterIdLst>
  <p:notesMasterIdLst>
    <p:notesMasterId r:id="rId14"/>
  </p:notesMasterIdLst>
  <p:sldIdLst>
    <p:sldId id="2147483646" r:id="rId3"/>
    <p:sldId id="256" r:id="rId4"/>
    <p:sldId id="777" r:id="rId5"/>
    <p:sldId id="2147469239" r:id="rId6"/>
    <p:sldId id="260" r:id="rId7"/>
    <p:sldId id="261" r:id="rId8"/>
    <p:sldId id="259" r:id="rId9"/>
    <p:sldId id="257" r:id="rId10"/>
    <p:sldId id="2147483647" r:id="rId11"/>
    <p:sldId id="258" r:id="rId12"/>
    <p:sldId id="2147469969" r:id="rId1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B780A2-B91E-4DB8-B7A7-34747B31853F}" v="325" dt="2024-11-13T18:26:29.318"/>
    <p1510:client id="{92DAD69A-17F6-4349-99DA-88FE146E9804}" v="2" dt="2024-11-14T13:33:03.02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19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uno Fournier" userId="04448c63-01f6-4e27-bf4f-888bf844a034" providerId="ADAL" clId="{92DAD69A-17F6-4349-99DA-88FE146E9804}"/>
    <pc:docChg chg="custSel modSld">
      <pc:chgData name="Bruno Fournier" userId="04448c63-01f6-4e27-bf4f-888bf844a034" providerId="ADAL" clId="{92DAD69A-17F6-4349-99DA-88FE146E9804}" dt="2024-11-14T13:33:03.136" v="26" actId="27636"/>
      <pc:docMkLst>
        <pc:docMk/>
      </pc:docMkLst>
      <pc:sldChg chg="addSp mod">
        <pc:chgData name="Bruno Fournier" userId="04448c63-01f6-4e27-bf4f-888bf844a034" providerId="ADAL" clId="{92DAD69A-17F6-4349-99DA-88FE146E9804}" dt="2024-11-13T20:20:25.764" v="0" actId="22"/>
        <pc:sldMkLst>
          <pc:docMk/>
          <pc:sldMk cId="2005754388" sldId="258"/>
        </pc:sldMkLst>
        <pc:picChg chg="add">
          <ac:chgData name="Bruno Fournier" userId="04448c63-01f6-4e27-bf4f-888bf844a034" providerId="ADAL" clId="{92DAD69A-17F6-4349-99DA-88FE146E9804}" dt="2024-11-13T20:20:25.764" v="0" actId="22"/>
          <ac:picMkLst>
            <pc:docMk/>
            <pc:sldMk cId="2005754388" sldId="258"/>
            <ac:picMk id="7" creationId="{56C42136-2258-41BC-AD2A-9FA7C5A01A37}"/>
          </ac:picMkLst>
        </pc:picChg>
      </pc:sldChg>
      <pc:sldChg chg="modSp mod">
        <pc:chgData name="Bruno Fournier" userId="04448c63-01f6-4e27-bf4f-888bf844a034" providerId="ADAL" clId="{92DAD69A-17F6-4349-99DA-88FE146E9804}" dt="2024-11-14T13:31:15.421" v="25" actId="20577"/>
        <pc:sldMkLst>
          <pc:docMk/>
          <pc:sldMk cId="4270448534" sldId="260"/>
        </pc:sldMkLst>
        <pc:spChg chg="mod">
          <ac:chgData name="Bruno Fournier" userId="04448c63-01f6-4e27-bf4f-888bf844a034" providerId="ADAL" clId="{92DAD69A-17F6-4349-99DA-88FE146E9804}" dt="2024-11-14T13:31:15.421" v="25" actId="20577"/>
          <ac:spMkLst>
            <pc:docMk/>
            <pc:sldMk cId="4270448534" sldId="260"/>
            <ac:spMk id="8" creationId="{76003DF3-3886-EF13-BBC7-52DAAA14597B}"/>
          </ac:spMkLst>
        </pc:spChg>
      </pc:sldChg>
      <pc:sldChg chg="modSp mod">
        <pc:chgData name="Bruno Fournier" userId="04448c63-01f6-4e27-bf4f-888bf844a034" providerId="ADAL" clId="{92DAD69A-17F6-4349-99DA-88FE146E9804}" dt="2024-11-14T13:33:03.136" v="26" actId="27636"/>
        <pc:sldMkLst>
          <pc:docMk/>
          <pc:sldMk cId="1430368041" sldId="777"/>
        </pc:sldMkLst>
        <pc:spChg chg="mod">
          <ac:chgData name="Bruno Fournier" userId="04448c63-01f6-4e27-bf4f-888bf844a034" providerId="ADAL" clId="{92DAD69A-17F6-4349-99DA-88FE146E9804}" dt="2024-11-14T13:33:03.136" v="26" actId="27636"/>
          <ac:spMkLst>
            <pc:docMk/>
            <pc:sldMk cId="1430368041" sldId="777"/>
            <ac:spMk id="4" creationId="{CF8582C3-C8DE-4A35-B55E-CF14CA206C26}"/>
          </ac:spMkLst>
        </pc:spChg>
      </pc:sldChg>
      <pc:sldChg chg="modSp mod">
        <pc:chgData name="Bruno Fournier" userId="04448c63-01f6-4e27-bf4f-888bf844a034" providerId="ADAL" clId="{92DAD69A-17F6-4349-99DA-88FE146E9804}" dt="2024-11-14T13:30:03.642" v="1" actId="1076"/>
        <pc:sldMkLst>
          <pc:docMk/>
          <pc:sldMk cId="2873731117" sldId="2147469239"/>
        </pc:sldMkLst>
        <pc:picChg chg="mod">
          <ac:chgData name="Bruno Fournier" userId="04448c63-01f6-4e27-bf4f-888bf844a034" providerId="ADAL" clId="{92DAD69A-17F6-4349-99DA-88FE146E9804}" dt="2024-11-14T13:30:03.642" v="1" actId="1076"/>
          <ac:picMkLst>
            <pc:docMk/>
            <pc:sldMk cId="2873731117" sldId="2147469239"/>
            <ac:picMk id="8" creationId="{E7EDFAE8-D3CB-FCF6-4BCA-FC94387BFA77}"/>
          </ac:picMkLst>
        </pc:picChg>
      </pc:sldChg>
    </pc:docChg>
  </pc:docChgLst>
  <pc:docChgLst>
    <pc:chgData name="Lise Dumais" userId="9290fe80-ef4b-454d-9d57-6915e985ffe4" providerId="ADAL" clId="{85B780A2-B91E-4DB8-B7A7-34747B31853F}"/>
    <pc:docChg chg="undo custSel addSld delSld modSld delMainMaster">
      <pc:chgData name="Lise Dumais" userId="9290fe80-ef4b-454d-9d57-6915e985ffe4" providerId="ADAL" clId="{85B780A2-B91E-4DB8-B7A7-34747B31853F}" dt="2024-11-13T18:26:29.318" v="315" actId="478"/>
      <pc:docMkLst>
        <pc:docMk/>
      </pc:docMkLst>
      <pc:sldChg chg="addSp delSp modSp del mod">
        <pc:chgData name="Lise Dumais" userId="9290fe80-ef4b-454d-9d57-6915e985ffe4" providerId="ADAL" clId="{85B780A2-B91E-4DB8-B7A7-34747B31853F}" dt="2024-11-13T15:34:46.661" v="80" actId="47"/>
        <pc:sldMkLst>
          <pc:docMk/>
          <pc:sldMk cId="1667658869" sldId="256"/>
        </pc:sldMkLst>
        <pc:spChg chg="mod">
          <ac:chgData name="Lise Dumais" userId="9290fe80-ef4b-454d-9d57-6915e985ffe4" providerId="ADAL" clId="{85B780A2-B91E-4DB8-B7A7-34747B31853F}" dt="2024-11-13T15:32:23.219" v="79" actId="1076"/>
          <ac:spMkLst>
            <pc:docMk/>
            <pc:sldMk cId="1667658869" sldId="256"/>
            <ac:spMk id="2" creationId="{D8E78AF2-A8F8-A8D0-2C91-E41340625050}"/>
          </ac:spMkLst>
        </pc:spChg>
        <pc:spChg chg="add del mod">
          <ac:chgData name="Lise Dumais" userId="9290fe80-ef4b-454d-9d57-6915e985ffe4" providerId="ADAL" clId="{85B780A2-B91E-4DB8-B7A7-34747B31853F}" dt="2024-11-13T15:31:46.199" v="74" actId="478"/>
          <ac:spMkLst>
            <pc:docMk/>
            <pc:sldMk cId="1667658869" sldId="256"/>
            <ac:spMk id="4" creationId="{B968D61B-9EDB-4D68-18ED-782CAF6A927F}"/>
          </ac:spMkLst>
        </pc:spChg>
        <pc:spChg chg="add del mod">
          <ac:chgData name="Lise Dumais" userId="9290fe80-ef4b-454d-9d57-6915e985ffe4" providerId="ADAL" clId="{85B780A2-B91E-4DB8-B7A7-34747B31853F}" dt="2024-11-13T15:31:43.159" v="73" actId="478"/>
          <ac:spMkLst>
            <pc:docMk/>
            <pc:sldMk cId="1667658869" sldId="256"/>
            <ac:spMk id="5" creationId="{5B333264-1D5A-AAD7-1F95-0670581FBF5A}"/>
          </ac:spMkLst>
        </pc:spChg>
      </pc:sldChg>
      <pc:sldChg chg="addSp delSp modSp mod">
        <pc:chgData name="Lise Dumais" userId="9290fe80-ef4b-454d-9d57-6915e985ffe4" providerId="ADAL" clId="{85B780A2-B91E-4DB8-B7A7-34747B31853F}" dt="2024-11-13T18:25:54.887" v="311" actId="478"/>
        <pc:sldMkLst>
          <pc:docMk/>
          <pc:sldMk cId="1965482904" sldId="256"/>
        </pc:sldMkLst>
        <pc:spChg chg="add del mod">
          <ac:chgData name="Lise Dumais" userId="9290fe80-ef4b-454d-9d57-6915e985ffe4" providerId="ADAL" clId="{85B780A2-B91E-4DB8-B7A7-34747B31853F}" dt="2024-11-13T18:19:03.415" v="239" actId="478"/>
          <ac:spMkLst>
            <pc:docMk/>
            <pc:sldMk cId="1965482904" sldId="256"/>
            <ac:spMk id="4" creationId="{B675ABCA-64BA-7CE2-E9B8-98906C9E078C}"/>
          </ac:spMkLst>
        </pc:spChg>
        <pc:spChg chg="mod">
          <ac:chgData name="Lise Dumais" userId="9290fe80-ef4b-454d-9d57-6915e985ffe4" providerId="ADAL" clId="{85B780A2-B91E-4DB8-B7A7-34747B31853F}" dt="2024-11-13T15:38:22.135" v="100" actId="1076"/>
          <ac:spMkLst>
            <pc:docMk/>
            <pc:sldMk cId="1965482904" sldId="256"/>
            <ac:spMk id="9" creationId="{834BBA1E-CE21-B256-9793-8E1095EBAA7E}"/>
          </ac:spMkLst>
        </pc:spChg>
        <pc:spChg chg="del">
          <ac:chgData name="Lise Dumais" userId="9290fe80-ef4b-454d-9d57-6915e985ffe4" providerId="ADAL" clId="{85B780A2-B91E-4DB8-B7A7-34747B31853F}" dt="2024-11-13T18:19:06.154" v="242" actId="478"/>
          <ac:spMkLst>
            <pc:docMk/>
            <pc:sldMk cId="1965482904" sldId="256"/>
            <ac:spMk id="11" creationId="{D9DD168B-680F-4A69-84C8-AB89242EAE82}"/>
          </ac:spMkLst>
        </pc:spChg>
        <pc:spChg chg="add del mod">
          <ac:chgData name="Lise Dumais" userId="9290fe80-ef4b-454d-9d57-6915e985ffe4" providerId="ADAL" clId="{85B780A2-B91E-4DB8-B7A7-34747B31853F}" dt="2024-11-13T18:23:00.824" v="275" actId="478"/>
          <ac:spMkLst>
            <pc:docMk/>
            <pc:sldMk cId="1965482904" sldId="256"/>
            <ac:spMk id="12" creationId="{F92DF0EC-283C-8540-A8D0-24E7BB4252D0}"/>
          </ac:spMkLst>
        </pc:spChg>
        <pc:spChg chg="del">
          <ac:chgData name="Lise Dumais" userId="9290fe80-ef4b-454d-9d57-6915e985ffe4" providerId="ADAL" clId="{85B780A2-B91E-4DB8-B7A7-34747B31853F}" dt="2024-11-13T18:19:11.156" v="244" actId="478"/>
          <ac:spMkLst>
            <pc:docMk/>
            <pc:sldMk cId="1965482904" sldId="256"/>
            <ac:spMk id="14" creationId="{2CEB7E8B-F97B-4E23-9E35-0896CCBF1B32}"/>
          </ac:spMkLst>
        </pc:spChg>
        <pc:spChg chg="add del mod">
          <ac:chgData name="Lise Dumais" userId="9290fe80-ef4b-454d-9d57-6915e985ffe4" providerId="ADAL" clId="{85B780A2-B91E-4DB8-B7A7-34747B31853F}" dt="2024-11-13T18:19:09.255" v="243" actId="478"/>
          <ac:spMkLst>
            <pc:docMk/>
            <pc:sldMk cId="1965482904" sldId="256"/>
            <ac:spMk id="15" creationId="{D36E03E1-D651-9C63-9DAE-DAB559CBD2A5}"/>
          </ac:spMkLst>
        </pc:spChg>
        <pc:spChg chg="add del mod">
          <ac:chgData name="Lise Dumais" userId="9290fe80-ef4b-454d-9d57-6915e985ffe4" providerId="ADAL" clId="{85B780A2-B91E-4DB8-B7A7-34747B31853F}" dt="2024-11-13T18:19:17.080" v="247" actId="478"/>
          <ac:spMkLst>
            <pc:docMk/>
            <pc:sldMk cId="1965482904" sldId="256"/>
            <ac:spMk id="19" creationId="{BF7348CD-7E66-43BC-EAFF-86BCC062ECBA}"/>
          </ac:spMkLst>
        </pc:spChg>
        <pc:spChg chg="del">
          <ac:chgData name="Lise Dumais" userId="9290fe80-ef4b-454d-9d57-6915e985ffe4" providerId="ADAL" clId="{85B780A2-B91E-4DB8-B7A7-34747B31853F}" dt="2024-11-13T18:19:13.760" v="246" actId="478"/>
          <ac:spMkLst>
            <pc:docMk/>
            <pc:sldMk cId="1965482904" sldId="256"/>
            <ac:spMk id="34" creationId="{1312ED26-B77F-481E-A831-BD97EB3D0EBB}"/>
          </ac:spMkLst>
        </pc:spChg>
        <pc:spChg chg="add del mod">
          <ac:chgData name="Lise Dumais" userId="9290fe80-ef4b-454d-9d57-6915e985ffe4" providerId="ADAL" clId="{85B780A2-B91E-4DB8-B7A7-34747B31853F}" dt="2024-11-13T18:19:42.352" v="252" actId="478"/>
          <ac:spMkLst>
            <pc:docMk/>
            <pc:sldMk cId="1965482904" sldId="256"/>
            <ac:spMk id="37" creationId="{21C7E6A6-27D0-39CC-24DC-ADA498897A4A}"/>
          </ac:spMkLst>
        </pc:spChg>
        <pc:picChg chg="add del mod">
          <ac:chgData name="Lise Dumais" userId="9290fe80-ef4b-454d-9d57-6915e985ffe4" providerId="ADAL" clId="{85B780A2-B91E-4DB8-B7A7-34747B31853F}" dt="2024-11-13T18:23:01.798" v="276" actId="478"/>
          <ac:picMkLst>
            <pc:docMk/>
            <pc:sldMk cId="1965482904" sldId="256"/>
            <ac:picMk id="3" creationId="{578CF75E-FEC8-4A30-B491-8A9ACEBA8A36}"/>
          </ac:picMkLst>
        </pc:picChg>
        <pc:picChg chg="del">
          <ac:chgData name="Lise Dumais" userId="9290fe80-ef4b-454d-9d57-6915e985ffe4" providerId="ADAL" clId="{85B780A2-B91E-4DB8-B7A7-34747B31853F}" dt="2024-11-13T18:19:01.343" v="238" actId="478"/>
          <ac:picMkLst>
            <pc:docMk/>
            <pc:sldMk cId="1965482904" sldId="256"/>
            <ac:picMk id="16" creationId="{4FF5E115-A5C3-4775-B0CD-25BFA2CA2C12}"/>
          </ac:picMkLst>
        </pc:picChg>
        <pc:picChg chg="del">
          <ac:chgData name="Lise Dumais" userId="9290fe80-ef4b-454d-9d57-6915e985ffe4" providerId="ADAL" clId="{85B780A2-B91E-4DB8-B7A7-34747B31853F}" dt="2024-11-13T18:19:04.338" v="240" actId="478"/>
          <ac:picMkLst>
            <pc:docMk/>
            <pc:sldMk cId="1965482904" sldId="256"/>
            <ac:picMk id="18" creationId="{AC455569-0782-40E8-BA51-4469C182A7A5}"/>
          </ac:picMkLst>
        </pc:picChg>
        <pc:picChg chg="del">
          <ac:chgData name="Lise Dumais" userId="9290fe80-ef4b-454d-9d57-6915e985ffe4" providerId="ADAL" clId="{85B780A2-B91E-4DB8-B7A7-34747B31853F}" dt="2024-11-13T18:25:51.494" v="306" actId="478"/>
          <ac:picMkLst>
            <pc:docMk/>
            <pc:sldMk cId="1965482904" sldId="256"/>
            <ac:picMk id="21" creationId="{381D7A8E-AB4F-4170-AECE-D13A55B2DB34}"/>
          </ac:picMkLst>
        </pc:picChg>
        <pc:picChg chg="del">
          <ac:chgData name="Lise Dumais" userId="9290fe80-ef4b-454d-9d57-6915e985ffe4" providerId="ADAL" clId="{85B780A2-B91E-4DB8-B7A7-34747B31853F}" dt="2024-11-13T18:19:12.620" v="245" actId="478"/>
          <ac:picMkLst>
            <pc:docMk/>
            <pc:sldMk cId="1965482904" sldId="256"/>
            <ac:picMk id="22" creationId="{5AE535F5-E692-44A7-8537-3B1AEF088E1B}"/>
          </ac:picMkLst>
        </pc:picChg>
        <pc:picChg chg="del">
          <ac:chgData name="Lise Dumais" userId="9290fe80-ef4b-454d-9d57-6915e985ffe4" providerId="ADAL" clId="{85B780A2-B91E-4DB8-B7A7-34747B31853F}" dt="2024-11-13T18:25:50.194" v="304" actId="478"/>
          <ac:picMkLst>
            <pc:docMk/>
            <pc:sldMk cId="1965482904" sldId="256"/>
            <ac:picMk id="23" creationId="{ECD81AA0-C04B-4BA5-8101-0CFCF471E3BE}"/>
          </ac:picMkLst>
        </pc:picChg>
        <pc:picChg chg="del">
          <ac:chgData name="Lise Dumais" userId="9290fe80-ef4b-454d-9d57-6915e985ffe4" providerId="ADAL" clId="{85B780A2-B91E-4DB8-B7A7-34747B31853F}" dt="2024-11-13T18:25:49.224" v="303" actId="478"/>
          <ac:picMkLst>
            <pc:docMk/>
            <pc:sldMk cId="1965482904" sldId="256"/>
            <ac:picMk id="24" creationId="{110FAA38-3552-480C-8373-DE396774176B}"/>
          </ac:picMkLst>
        </pc:picChg>
        <pc:picChg chg="del">
          <ac:chgData name="Lise Dumais" userId="9290fe80-ef4b-454d-9d57-6915e985ffe4" providerId="ADAL" clId="{85B780A2-B91E-4DB8-B7A7-34747B31853F}" dt="2024-11-13T18:25:50.846" v="305" actId="478"/>
          <ac:picMkLst>
            <pc:docMk/>
            <pc:sldMk cId="1965482904" sldId="256"/>
            <ac:picMk id="25" creationId="{05810ACC-9922-4E7C-9200-5C2F6486BF07}"/>
          </ac:picMkLst>
        </pc:picChg>
        <pc:picChg chg="del">
          <ac:chgData name="Lise Dumais" userId="9290fe80-ef4b-454d-9d57-6915e985ffe4" providerId="ADAL" clId="{85B780A2-B91E-4DB8-B7A7-34747B31853F}" dt="2024-11-13T18:25:52.121" v="307" actId="478"/>
          <ac:picMkLst>
            <pc:docMk/>
            <pc:sldMk cId="1965482904" sldId="256"/>
            <ac:picMk id="26" creationId="{E499DA2C-2E67-46F9-BA5E-73D1B0C99045}"/>
          </ac:picMkLst>
        </pc:picChg>
        <pc:picChg chg="del">
          <ac:chgData name="Lise Dumais" userId="9290fe80-ef4b-454d-9d57-6915e985ffe4" providerId="ADAL" clId="{85B780A2-B91E-4DB8-B7A7-34747B31853F}" dt="2024-11-13T18:25:54.887" v="311" actId="478"/>
          <ac:picMkLst>
            <pc:docMk/>
            <pc:sldMk cId="1965482904" sldId="256"/>
            <ac:picMk id="27" creationId="{A4735BBE-3B97-4D6F-89F1-1A5455345FE6}"/>
          </ac:picMkLst>
        </pc:picChg>
        <pc:picChg chg="del">
          <ac:chgData name="Lise Dumais" userId="9290fe80-ef4b-454d-9d57-6915e985ffe4" providerId="ADAL" clId="{85B780A2-B91E-4DB8-B7A7-34747B31853F}" dt="2024-11-13T18:25:54.216" v="310" actId="478"/>
          <ac:picMkLst>
            <pc:docMk/>
            <pc:sldMk cId="1965482904" sldId="256"/>
            <ac:picMk id="28" creationId="{23CD9908-CFE7-477B-A9E3-03F4874A305F}"/>
          </ac:picMkLst>
        </pc:picChg>
        <pc:picChg chg="del">
          <ac:chgData name="Lise Dumais" userId="9290fe80-ef4b-454d-9d57-6915e985ffe4" providerId="ADAL" clId="{85B780A2-B91E-4DB8-B7A7-34747B31853F}" dt="2024-11-13T18:25:53.599" v="309" actId="478"/>
          <ac:picMkLst>
            <pc:docMk/>
            <pc:sldMk cId="1965482904" sldId="256"/>
            <ac:picMk id="29" creationId="{D5C6F1A7-6AFE-4D0D-80B7-D821F3D554FD}"/>
          </ac:picMkLst>
        </pc:picChg>
        <pc:picChg chg="del mod ord">
          <ac:chgData name="Lise Dumais" userId="9290fe80-ef4b-454d-9d57-6915e985ffe4" providerId="ADAL" clId="{85B780A2-B91E-4DB8-B7A7-34747B31853F}" dt="2024-11-13T18:25:36.977" v="301" actId="478"/>
          <ac:picMkLst>
            <pc:docMk/>
            <pc:sldMk cId="1965482904" sldId="256"/>
            <ac:picMk id="30" creationId="{191B3BAE-9420-4EBC-B93C-20E78DAA8761}"/>
          </ac:picMkLst>
        </pc:picChg>
        <pc:picChg chg="mod ord">
          <ac:chgData name="Lise Dumais" userId="9290fe80-ef4b-454d-9d57-6915e985ffe4" providerId="ADAL" clId="{85B780A2-B91E-4DB8-B7A7-34747B31853F}" dt="2024-11-13T18:25:28.601" v="300" actId="1076"/>
          <ac:picMkLst>
            <pc:docMk/>
            <pc:sldMk cId="1965482904" sldId="256"/>
            <ac:picMk id="31" creationId="{7F99A860-42D2-49D9-92B4-979B228CA958}"/>
          </ac:picMkLst>
        </pc:picChg>
        <pc:picChg chg="del">
          <ac:chgData name="Lise Dumais" userId="9290fe80-ef4b-454d-9d57-6915e985ffe4" providerId="ADAL" clId="{85B780A2-B91E-4DB8-B7A7-34747B31853F}" dt="2024-11-13T18:25:52.680" v="308" actId="478"/>
          <ac:picMkLst>
            <pc:docMk/>
            <pc:sldMk cId="1965482904" sldId="256"/>
            <ac:picMk id="32" creationId="{C6E0B315-E157-4B83-ADB6-4D07A4ED1349}"/>
          </ac:picMkLst>
        </pc:picChg>
        <pc:picChg chg="mod ord">
          <ac:chgData name="Lise Dumais" userId="9290fe80-ef4b-454d-9d57-6915e985ffe4" providerId="ADAL" clId="{85B780A2-B91E-4DB8-B7A7-34747B31853F}" dt="2024-11-13T18:24:55.462" v="295" actId="1076"/>
          <ac:picMkLst>
            <pc:docMk/>
            <pc:sldMk cId="1965482904" sldId="256"/>
            <ac:picMk id="33" creationId="{3ED6FFAF-EDC9-4A37-86AE-06FA6D1DD944}"/>
          </ac:picMkLst>
        </pc:picChg>
        <pc:picChg chg="mod ord">
          <ac:chgData name="Lise Dumais" userId="9290fe80-ef4b-454d-9d57-6915e985ffe4" providerId="ADAL" clId="{85B780A2-B91E-4DB8-B7A7-34747B31853F}" dt="2024-11-13T18:24:29.051" v="289" actId="1076"/>
          <ac:picMkLst>
            <pc:docMk/>
            <pc:sldMk cId="1965482904" sldId="256"/>
            <ac:picMk id="35" creationId="{CE9A0297-9241-475A-A496-1ADAB1BDA949}"/>
          </ac:picMkLst>
        </pc:picChg>
        <pc:picChg chg="mod ord">
          <ac:chgData name="Lise Dumais" userId="9290fe80-ef4b-454d-9d57-6915e985ffe4" providerId="ADAL" clId="{85B780A2-B91E-4DB8-B7A7-34747B31853F}" dt="2024-11-13T18:25:23.290" v="299" actId="1076"/>
          <ac:picMkLst>
            <pc:docMk/>
            <pc:sldMk cId="1965482904" sldId="256"/>
            <ac:picMk id="36" creationId="{DDCDD339-D80C-4D10-B2B9-8A85A9339B54}"/>
          </ac:picMkLst>
        </pc:picChg>
        <pc:picChg chg="mod ord">
          <ac:chgData name="Lise Dumais" userId="9290fe80-ef4b-454d-9d57-6915e985ffe4" providerId="ADAL" clId="{85B780A2-B91E-4DB8-B7A7-34747B31853F}" dt="2024-11-13T18:25:44.057" v="302" actId="1076"/>
          <ac:picMkLst>
            <pc:docMk/>
            <pc:sldMk cId="1965482904" sldId="256"/>
            <ac:picMk id="38" creationId="{CCC39E66-6C3F-4FE0-A815-F7ADEB88780A}"/>
          </ac:picMkLst>
        </pc:picChg>
        <pc:picChg chg="add mod">
          <ac:chgData name="Lise Dumais" userId="9290fe80-ef4b-454d-9d57-6915e985ffe4" providerId="ADAL" clId="{85B780A2-B91E-4DB8-B7A7-34747B31853F}" dt="2024-11-13T18:25:04.572" v="297" actId="1076"/>
          <ac:picMkLst>
            <pc:docMk/>
            <pc:sldMk cId="1965482904" sldId="256"/>
            <ac:picMk id="40" creationId="{BD1AE8B5-DB73-8591-93CF-3BC29778BAF2}"/>
          </ac:picMkLst>
        </pc:picChg>
        <pc:picChg chg="add del mod">
          <ac:chgData name="Lise Dumais" userId="9290fe80-ef4b-454d-9d57-6915e985ffe4" providerId="ADAL" clId="{85B780A2-B91E-4DB8-B7A7-34747B31853F}" dt="2024-11-13T18:20:50.902" v="259" actId="478"/>
          <ac:picMkLst>
            <pc:docMk/>
            <pc:sldMk cId="1965482904" sldId="256"/>
            <ac:picMk id="1026" creationId="{9A52C236-2F9E-FB36-D08C-047473EDC90A}"/>
          </ac:picMkLst>
        </pc:picChg>
        <pc:picChg chg="del">
          <ac:chgData name="Lise Dumais" userId="9290fe80-ef4b-454d-9d57-6915e985ffe4" providerId="ADAL" clId="{85B780A2-B91E-4DB8-B7A7-34747B31853F}" dt="2024-11-13T18:19:05.159" v="241" actId="478"/>
          <ac:picMkLst>
            <pc:docMk/>
            <pc:sldMk cId="1965482904" sldId="256"/>
            <ac:picMk id="1028" creationId="{7A55F330-FCEB-F2DA-021C-2C90F6E522B1}"/>
          </ac:picMkLst>
        </pc:picChg>
      </pc:sldChg>
      <pc:sldChg chg="del">
        <pc:chgData name="Lise Dumais" userId="9290fe80-ef4b-454d-9d57-6915e985ffe4" providerId="ADAL" clId="{85B780A2-B91E-4DB8-B7A7-34747B31853F}" dt="2024-11-13T15:45:32.009" v="105" actId="47"/>
        <pc:sldMkLst>
          <pc:docMk/>
          <pc:sldMk cId="2772263490" sldId="257"/>
        </pc:sldMkLst>
      </pc:sldChg>
      <pc:sldChg chg="addSp modSp mod">
        <pc:chgData name="Lise Dumais" userId="9290fe80-ef4b-454d-9d57-6915e985ffe4" providerId="ADAL" clId="{85B780A2-B91E-4DB8-B7A7-34747B31853F}" dt="2024-11-13T16:23:10.457" v="236" actId="14100"/>
        <pc:sldMkLst>
          <pc:docMk/>
          <pc:sldMk cId="3844850180" sldId="257"/>
        </pc:sldMkLst>
        <pc:spChg chg="mod">
          <ac:chgData name="Lise Dumais" userId="9290fe80-ef4b-454d-9d57-6915e985ffe4" providerId="ADAL" clId="{85B780A2-B91E-4DB8-B7A7-34747B31853F}" dt="2024-11-13T15:58:36.247" v="128" actId="255"/>
          <ac:spMkLst>
            <pc:docMk/>
            <pc:sldMk cId="3844850180" sldId="257"/>
            <ac:spMk id="6" creationId="{8DD5A512-CCF9-7698-A8D1-13BA7A86B98E}"/>
          </ac:spMkLst>
        </pc:spChg>
        <pc:spChg chg="mod">
          <ac:chgData name="Lise Dumais" userId="9290fe80-ef4b-454d-9d57-6915e985ffe4" providerId="ADAL" clId="{85B780A2-B91E-4DB8-B7A7-34747B31853F}" dt="2024-11-13T16:10:49.918" v="198" actId="255"/>
          <ac:spMkLst>
            <pc:docMk/>
            <pc:sldMk cId="3844850180" sldId="257"/>
            <ac:spMk id="8" creationId="{76003DF3-3886-EF13-BBC7-52DAAA14597B}"/>
          </ac:spMkLst>
        </pc:spChg>
        <pc:picChg chg="add mod">
          <ac:chgData name="Lise Dumais" userId="9290fe80-ef4b-454d-9d57-6915e985ffe4" providerId="ADAL" clId="{85B780A2-B91E-4DB8-B7A7-34747B31853F}" dt="2024-11-13T16:23:10.457" v="236" actId="14100"/>
          <ac:picMkLst>
            <pc:docMk/>
            <pc:sldMk cId="3844850180" sldId="257"/>
            <ac:picMk id="10" creationId="{96C730A6-6062-74C4-9F06-9938EF8D611A}"/>
          </ac:picMkLst>
        </pc:picChg>
      </pc:sldChg>
      <pc:sldChg chg="delSp new mod">
        <pc:chgData name="Lise Dumais" userId="9290fe80-ef4b-454d-9d57-6915e985ffe4" providerId="ADAL" clId="{85B780A2-B91E-4DB8-B7A7-34747B31853F}" dt="2024-11-13T18:26:29.318" v="315" actId="478"/>
        <pc:sldMkLst>
          <pc:docMk/>
          <pc:sldMk cId="2005754388" sldId="258"/>
        </pc:sldMkLst>
        <pc:spChg chg="del">
          <ac:chgData name="Lise Dumais" userId="9290fe80-ef4b-454d-9d57-6915e985ffe4" providerId="ADAL" clId="{85B780A2-B91E-4DB8-B7A7-34747B31853F}" dt="2024-11-13T18:26:27.095" v="314" actId="478"/>
          <ac:spMkLst>
            <pc:docMk/>
            <pc:sldMk cId="2005754388" sldId="258"/>
            <ac:spMk id="2" creationId="{740550E0-7015-19A4-C28A-2CC98BB67B89}"/>
          </ac:spMkLst>
        </pc:spChg>
        <pc:spChg chg="del">
          <ac:chgData name="Lise Dumais" userId="9290fe80-ef4b-454d-9d57-6915e985ffe4" providerId="ADAL" clId="{85B780A2-B91E-4DB8-B7A7-34747B31853F}" dt="2024-11-13T18:26:25.759" v="313" actId="478"/>
          <ac:spMkLst>
            <pc:docMk/>
            <pc:sldMk cId="2005754388" sldId="258"/>
            <ac:spMk id="4" creationId="{D5DA1F15-A94E-ADAB-5F09-226D041702F0}"/>
          </ac:spMkLst>
        </pc:spChg>
        <pc:spChg chg="del">
          <ac:chgData name="Lise Dumais" userId="9290fe80-ef4b-454d-9d57-6915e985ffe4" providerId="ADAL" clId="{85B780A2-B91E-4DB8-B7A7-34747B31853F}" dt="2024-11-13T18:26:29.318" v="315" actId="478"/>
          <ac:spMkLst>
            <pc:docMk/>
            <pc:sldMk cId="2005754388" sldId="258"/>
            <ac:spMk id="5" creationId="{8835681F-E02C-06C2-21DE-29235254498C}"/>
          </ac:spMkLst>
        </pc:spChg>
      </pc:sldChg>
      <pc:sldChg chg="addSp delSp modSp del mod">
        <pc:chgData name="Lise Dumais" userId="9290fe80-ef4b-454d-9d57-6915e985ffe4" providerId="ADAL" clId="{85B780A2-B91E-4DB8-B7A7-34747B31853F}" dt="2024-11-13T15:59:58.483" v="131" actId="47"/>
        <pc:sldMkLst>
          <pc:docMk/>
          <pc:sldMk cId="3739880440" sldId="258"/>
        </pc:sldMkLst>
        <pc:spChg chg="add del">
          <ac:chgData name="Lise Dumais" userId="9290fe80-ef4b-454d-9d57-6915e985ffe4" providerId="ADAL" clId="{85B780A2-B91E-4DB8-B7A7-34747B31853F}" dt="2024-11-13T15:59:55.643" v="130" actId="478"/>
          <ac:spMkLst>
            <pc:docMk/>
            <pc:sldMk cId="3739880440" sldId="258"/>
            <ac:spMk id="3" creationId="{C5230223-AE48-F6B8-7B19-9C88C1936C7D}"/>
          </ac:spMkLst>
        </pc:spChg>
        <pc:spChg chg="add del mod">
          <ac:chgData name="Lise Dumais" userId="9290fe80-ef4b-454d-9d57-6915e985ffe4" providerId="ADAL" clId="{85B780A2-B91E-4DB8-B7A7-34747B31853F}" dt="2024-11-13T15:59:55.643" v="130" actId="478"/>
          <ac:spMkLst>
            <pc:docMk/>
            <pc:sldMk cId="3739880440" sldId="258"/>
            <ac:spMk id="5" creationId="{D3652C9D-BC0B-D218-4F13-A03A5296AA47}"/>
          </ac:spMkLst>
        </pc:spChg>
      </pc:sldChg>
      <pc:sldChg chg="addSp modSp mod">
        <pc:chgData name="Lise Dumais" userId="9290fe80-ef4b-454d-9d57-6915e985ffe4" providerId="ADAL" clId="{85B780A2-B91E-4DB8-B7A7-34747B31853F}" dt="2024-11-13T16:08:15.190" v="187" actId="14100"/>
        <pc:sldMkLst>
          <pc:docMk/>
          <pc:sldMk cId="1807472886" sldId="259"/>
        </pc:sldMkLst>
        <pc:spChg chg="mod">
          <ac:chgData name="Lise Dumais" userId="9290fe80-ef4b-454d-9d57-6915e985ffe4" providerId="ADAL" clId="{85B780A2-B91E-4DB8-B7A7-34747B31853F}" dt="2024-11-13T15:58:26.911" v="125" actId="255"/>
          <ac:spMkLst>
            <pc:docMk/>
            <pc:sldMk cId="1807472886" sldId="259"/>
            <ac:spMk id="6" creationId="{8DD5A512-CCF9-7698-A8D1-13BA7A86B98E}"/>
          </ac:spMkLst>
        </pc:spChg>
        <pc:spChg chg="mod">
          <ac:chgData name="Lise Dumais" userId="9290fe80-ef4b-454d-9d57-6915e985ffe4" providerId="ADAL" clId="{85B780A2-B91E-4DB8-B7A7-34747B31853F}" dt="2024-11-13T16:08:15.190" v="187" actId="14100"/>
          <ac:spMkLst>
            <pc:docMk/>
            <pc:sldMk cId="1807472886" sldId="259"/>
            <ac:spMk id="8" creationId="{76003DF3-3886-EF13-BBC7-52DAAA14597B}"/>
          </ac:spMkLst>
        </pc:spChg>
        <pc:picChg chg="add mod">
          <ac:chgData name="Lise Dumais" userId="9290fe80-ef4b-454d-9d57-6915e985ffe4" providerId="ADAL" clId="{85B780A2-B91E-4DB8-B7A7-34747B31853F}" dt="2024-11-13T16:05:36.152" v="153" actId="14100"/>
          <ac:picMkLst>
            <pc:docMk/>
            <pc:sldMk cId="1807472886" sldId="259"/>
            <ac:picMk id="10" creationId="{0E43B7B7-6E0D-66E7-6AC8-C2D0E1C3B471}"/>
          </ac:picMkLst>
        </pc:picChg>
      </pc:sldChg>
      <pc:sldChg chg="del">
        <pc:chgData name="Lise Dumais" userId="9290fe80-ef4b-454d-9d57-6915e985ffe4" providerId="ADAL" clId="{85B780A2-B91E-4DB8-B7A7-34747B31853F}" dt="2024-11-13T15:40:33.863" v="102" actId="47"/>
        <pc:sldMkLst>
          <pc:docMk/>
          <pc:sldMk cId="3285629278" sldId="259"/>
        </pc:sldMkLst>
      </pc:sldChg>
      <pc:sldChg chg="addSp modSp mod">
        <pc:chgData name="Lise Dumais" userId="9290fe80-ef4b-454d-9d57-6915e985ffe4" providerId="ADAL" clId="{85B780A2-B91E-4DB8-B7A7-34747B31853F}" dt="2024-11-13T16:07:16.504" v="177" actId="14100"/>
        <pc:sldMkLst>
          <pc:docMk/>
          <pc:sldMk cId="4270448534" sldId="260"/>
        </pc:sldMkLst>
        <pc:spChg chg="mod">
          <ac:chgData name="Lise Dumais" userId="9290fe80-ef4b-454d-9d57-6915e985ffe4" providerId="ADAL" clId="{85B780A2-B91E-4DB8-B7A7-34747B31853F}" dt="2024-11-13T15:38:03.128" v="97" actId="255"/>
          <ac:spMkLst>
            <pc:docMk/>
            <pc:sldMk cId="4270448534" sldId="260"/>
            <ac:spMk id="2" creationId="{BB02B229-A5EA-3F34-3AFC-C0DA9C7D46E8}"/>
          </ac:spMkLst>
        </pc:spChg>
        <pc:spChg chg="mod">
          <ac:chgData name="Lise Dumais" userId="9290fe80-ef4b-454d-9d57-6915e985ffe4" providerId="ADAL" clId="{85B780A2-B91E-4DB8-B7A7-34747B31853F}" dt="2024-11-13T16:07:16.504" v="177" actId="14100"/>
          <ac:spMkLst>
            <pc:docMk/>
            <pc:sldMk cId="4270448534" sldId="260"/>
            <ac:spMk id="8" creationId="{76003DF3-3886-EF13-BBC7-52DAAA14597B}"/>
          </ac:spMkLst>
        </pc:spChg>
        <pc:picChg chg="add mod">
          <ac:chgData name="Lise Dumais" userId="9290fe80-ef4b-454d-9d57-6915e985ffe4" providerId="ADAL" clId="{85B780A2-B91E-4DB8-B7A7-34747B31853F}" dt="2024-11-13T16:03:37.294" v="144" actId="1076"/>
          <ac:picMkLst>
            <pc:docMk/>
            <pc:sldMk cId="4270448534" sldId="260"/>
            <ac:picMk id="9" creationId="{E17525ED-C099-61F5-9B3A-3F14569B4A0C}"/>
          </ac:picMkLst>
        </pc:picChg>
      </pc:sldChg>
      <pc:sldChg chg="addSp modSp mod">
        <pc:chgData name="Lise Dumais" userId="9290fe80-ef4b-454d-9d57-6915e985ffe4" providerId="ADAL" clId="{85B780A2-B91E-4DB8-B7A7-34747B31853F}" dt="2024-11-13T16:07:33.592" v="180" actId="20577"/>
        <pc:sldMkLst>
          <pc:docMk/>
          <pc:sldMk cId="127763826" sldId="261"/>
        </pc:sldMkLst>
        <pc:spChg chg="mod">
          <ac:chgData name="Lise Dumais" userId="9290fe80-ef4b-454d-9d57-6915e985ffe4" providerId="ADAL" clId="{85B780A2-B91E-4DB8-B7A7-34747B31853F}" dt="2024-11-13T15:40:29.365" v="101" actId="207"/>
          <ac:spMkLst>
            <pc:docMk/>
            <pc:sldMk cId="127763826" sldId="261"/>
            <ac:spMk id="8" creationId="{76003DF3-3886-EF13-BBC7-52DAAA14597B}"/>
          </ac:spMkLst>
        </pc:spChg>
        <pc:spChg chg="mod">
          <ac:chgData name="Lise Dumais" userId="9290fe80-ef4b-454d-9d57-6915e985ffe4" providerId="ADAL" clId="{85B780A2-B91E-4DB8-B7A7-34747B31853F}" dt="2024-11-13T16:07:33.592" v="180" actId="20577"/>
          <ac:spMkLst>
            <pc:docMk/>
            <pc:sldMk cId="127763826" sldId="261"/>
            <ac:spMk id="9" creationId="{A6832BCD-BCC2-919C-D984-D1EDBDEBA968}"/>
          </ac:spMkLst>
        </pc:spChg>
        <pc:picChg chg="add mod">
          <ac:chgData name="Lise Dumais" userId="9290fe80-ef4b-454d-9d57-6915e985ffe4" providerId="ADAL" clId="{85B780A2-B91E-4DB8-B7A7-34747B31853F}" dt="2024-11-13T16:04:18.519" v="150" actId="1076"/>
          <ac:picMkLst>
            <pc:docMk/>
            <pc:sldMk cId="127763826" sldId="261"/>
            <ac:picMk id="10" creationId="{5FCDBE43-1BFD-CC5F-FFF3-7C0075A94568}"/>
          </ac:picMkLst>
        </pc:picChg>
      </pc:sldChg>
      <pc:sldChg chg="modSp del mod">
        <pc:chgData name="Lise Dumais" userId="9290fe80-ef4b-454d-9d57-6915e985ffe4" providerId="ADAL" clId="{85B780A2-B91E-4DB8-B7A7-34747B31853F}" dt="2024-11-13T15:27:56.997" v="68" actId="47"/>
        <pc:sldMkLst>
          <pc:docMk/>
          <pc:sldMk cId="2123971080" sldId="529"/>
        </pc:sldMkLst>
        <pc:spChg chg="mod">
          <ac:chgData name="Lise Dumais" userId="9290fe80-ef4b-454d-9d57-6915e985ffe4" providerId="ADAL" clId="{85B780A2-B91E-4DB8-B7A7-34747B31853F}" dt="2024-11-13T15:24:18.167" v="60" actId="20577"/>
          <ac:spMkLst>
            <pc:docMk/>
            <pc:sldMk cId="2123971080" sldId="529"/>
            <ac:spMk id="2" creationId="{78C93E40-1A6E-8D39-05F1-94ECF08EC509}"/>
          </ac:spMkLst>
        </pc:spChg>
      </pc:sldChg>
      <pc:sldChg chg="del">
        <pc:chgData name="Lise Dumais" userId="9290fe80-ef4b-454d-9d57-6915e985ffe4" providerId="ADAL" clId="{85B780A2-B91E-4DB8-B7A7-34747B31853F}" dt="2024-11-13T15:27:58.126" v="69" actId="47"/>
        <pc:sldMkLst>
          <pc:docMk/>
          <pc:sldMk cId="2930328880" sldId="530"/>
        </pc:sldMkLst>
      </pc:sldChg>
      <pc:sldChg chg="addSp delSp modSp add del mod">
        <pc:chgData name="Lise Dumais" userId="9290fe80-ef4b-454d-9d57-6915e985ffe4" providerId="ADAL" clId="{85B780A2-B91E-4DB8-B7A7-34747B31853F}" dt="2024-11-13T15:37:14.208" v="94" actId="47"/>
        <pc:sldMkLst>
          <pc:docMk/>
          <pc:sldMk cId="983839720" sldId="2146846744"/>
        </pc:sldMkLst>
        <pc:spChg chg="del mod">
          <ac:chgData name="Lise Dumais" userId="9290fe80-ef4b-454d-9d57-6915e985ffe4" providerId="ADAL" clId="{85B780A2-B91E-4DB8-B7A7-34747B31853F}" dt="2024-11-13T15:25:24.842" v="63" actId="478"/>
          <ac:spMkLst>
            <pc:docMk/>
            <pc:sldMk cId="983839720" sldId="2146846744"/>
            <ac:spMk id="4" creationId="{A40B996C-2A5D-4337-96B3-7122B34B79EC}"/>
          </ac:spMkLst>
        </pc:spChg>
        <pc:spChg chg="add mod">
          <ac:chgData name="Lise Dumais" userId="9290fe80-ef4b-454d-9d57-6915e985ffe4" providerId="ADAL" clId="{85B780A2-B91E-4DB8-B7A7-34747B31853F}" dt="2024-11-13T15:36:02.466" v="88" actId="255"/>
          <ac:spMkLst>
            <pc:docMk/>
            <pc:sldMk cId="983839720" sldId="2146846744"/>
            <ac:spMk id="9" creationId="{834BBA1E-CE21-B256-9793-8E1095EBAA7E}"/>
          </ac:spMkLst>
        </pc:spChg>
        <pc:spChg chg="mod">
          <ac:chgData name="Lise Dumais" userId="9290fe80-ef4b-454d-9d57-6915e985ffe4" providerId="ADAL" clId="{85B780A2-B91E-4DB8-B7A7-34747B31853F}" dt="2024-11-13T15:24:24.682" v="61" actId="1076"/>
          <ac:spMkLst>
            <pc:docMk/>
            <pc:sldMk cId="983839720" sldId="2146846744"/>
            <ac:spMk id="11" creationId="{D9DD168B-680F-4A69-84C8-AB89242EAE82}"/>
          </ac:spMkLst>
        </pc:spChg>
      </pc:sldChg>
      <pc:sldChg chg="addSp delSp modSp mod">
        <pc:chgData name="Lise Dumais" userId="9290fe80-ef4b-454d-9d57-6915e985ffe4" providerId="ADAL" clId="{85B780A2-B91E-4DB8-B7A7-34747B31853F}" dt="2024-11-13T16:23:22.872" v="237" actId="1076"/>
        <pc:sldMkLst>
          <pc:docMk/>
          <pc:sldMk cId="3498754631" sldId="2147469969"/>
        </pc:sldMkLst>
        <pc:spChg chg="mod">
          <ac:chgData name="Lise Dumais" userId="9290fe80-ef4b-454d-9d57-6915e985ffe4" providerId="ADAL" clId="{85B780A2-B91E-4DB8-B7A7-34747B31853F}" dt="2024-11-13T16:23:22.872" v="237" actId="1076"/>
          <ac:spMkLst>
            <pc:docMk/>
            <pc:sldMk cId="3498754631" sldId="2147469969"/>
            <ac:spMk id="2" creationId="{2A88F983-8965-D6D5-212B-8C9A57035BA6}"/>
          </ac:spMkLst>
        </pc:spChg>
        <pc:picChg chg="add del mod">
          <ac:chgData name="Lise Dumais" userId="9290fe80-ef4b-454d-9d57-6915e985ffe4" providerId="ADAL" clId="{85B780A2-B91E-4DB8-B7A7-34747B31853F}" dt="2024-11-13T16:17:09.374" v="205" actId="478"/>
          <ac:picMkLst>
            <pc:docMk/>
            <pc:sldMk cId="3498754631" sldId="2147469969"/>
            <ac:picMk id="1026" creationId="{60099AB7-149E-BDB5-E19E-532FF901F8A0}"/>
          </ac:picMkLst>
        </pc:picChg>
        <pc:picChg chg="add mod">
          <ac:chgData name="Lise Dumais" userId="9290fe80-ef4b-454d-9d57-6915e985ffe4" providerId="ADAL" clId="{85B780A2-B91E-4DB8-B7A7-34747B31853F}" dt="2024-11-13T16:17:33.833" v="208" actId="1076"/>
          <ac:picMkLst>
            <pc:docMk/>
            <pc:sldMk cId="3498754631" sldId="2147469969"/>
            <ac:picMk id="1028" creationId="{030AC52B-AE4C-92EC-6D15-4CB4E8612B2E}"/>
          </ac:picMkLst>
        </pc:picChg>
      </pc:sldChg>
      <pc:sldChg chg="addSp delSp modSp mod">
        <pc:chgData name="Lise Dumais" userId="9290fe80-ef4b-454d-9d57-6915e985ffe4" providerId="ADAL" clId="{85B780A2-B91E-4DB8-B7A7-34747B31853F}" dt="2024-11-13T15:20:51.954" v="44" actId="113"/>
        <pc:sldMkLst>
          <pc:docMk/>
          <pc:sldMk cId="1464731740" sldId="2147483646"/>
        </pc:sldMkLst>
        <pc:spChg chg="del mod">
          <ac:chgData name="Lise Dumais" userId="9290fe80-ef4b-454d-9d57-6915e985ffe4" providerId="ADAL" clId="{85B780A2-B91E-4DB8-B7A7-34747B31853F}" dt="2024-11-13T15:19:22.880" v="3" actId="478"/>
          <ac:spMkLst>
            <pc:docMk/>
            <pc:sldMk cId="1464731740" sldId="2147483646"/>
            <ac:spMk id="2" creationId="{682422C4-4D12-569F-47BC-FD40DDA90FE4}"/>
          </ac:spMkLst>
        </pc:spChg>
        <pc:spChg chg="del">
          <ac:chgData name="Lise Dumais" userId="9290fe80-ef4b-454d-9d57-6915e985ffe4" providerId="ADAL" clId="{85B780A2-B91E-4DB8-B7A7-34747B31853F}" dt="2024-11-13T15:19:51.615" v="8" actId="478"/>
          <ac:spMkLst>
            <pc:docMk/>
            <pc:sldMk cId="1464731740" sldId="2147483646"/>
            <ac:spMk id="4" creationId="{DA365338-E155-208B-B740-4A2EABA4899A}"/>
          </ac:spMkLst>
        </pc:spChg>
        <pc:spChg chg="add del mod">
          <ac:chgData name="Lise Dumais" userId="9290fe80-ef4b-454d-9d57-6915e985ffe4" providerId="ADAL" clId="{85B780A2-B91E-4DB8-B7A7-34747B31853F}" dt="2024-11-13T15:19:25.677" v="4" actId="478"/>
          <ac:spMkLst>
            <pc:docMk/>
            <pc:sldMk cId="1464731740" sldId="2147483646"/>
            <ac:spMk id="5" creationId="{3D3A31D1-C435-304D-E65D-38DE69E628D6}"/>
          </ac:spMkLst>
        </pc:spChg>
        <pc:spChg chg="add mod">
          <ac:chgData name="Lise Dumais" userId="9290fe80-ef4b-454d-9d57-6915e985ffe4" providerId="ADAL" clId="{85B780A2-B91E-4DB8-B7A7-34747B31853F}" dt="2024-11-13T15:19:36.036" v="7" actId="20577"/>
          <ac:spMkLst>
            <pc:docMk/>
            <pc:sldMk cId="1464731740" sldId="2147483646"/>
            <ac:spMk id="6" creationId="{98D071F6-D93E-EADF-0922-DBABFFA3D0CB}"/>
          </ac:spMkLst>
        </pc:spChg>
        <pc:spChg chg="add del mod">
          <ac:chgData name="Lise Dumais" userId="9290fe80-ef4b-454d-9d57-6915e985ffe4" providerId="ADAL" clId="{85B780A2-B91E-4DB8-B7A7-34747B31853F}" dt="2024-11-13T15:19:54.361" v="9" actId="478"/>
          <ac:spMkLst>
            <pc:docMk/>
            <pc:sldMk cId="1464731740" sldId="2147483646"/>
            <ac:spMk id="8" creationId="{70A16100-1B12-7879-BF68-91A8DD6A1CDA}"/>
          </ac:spMkLst>
        </pc:spChg>
        <pc:spChg chg="add mod">
          <ac:chgData name="Lise Dumais" userId="9290fe80-ef4b-454d-9d57-6915e985ffe4" providerId="ADAL" clId="{85B780A2-B91E-4DB8-B7A7-34747B31853F}" dt="2024-11-13T15:20:04.136" v="10"/>
          <ac:spMkLst>
            <pc:docMk/>
            <pc:sldMk cId="1464731740" sldId="2147483646"/>
            <ac:spMk id="9" creationId="{72C33B12-2959-E8E4-BB9C-B69150BDFA49}"/>
          </ac:spMkLst>
        </pc:spChg>
        <pc:spChg chg="add mod">
          <ac:chgData name="Lise Dumais" userId="9290fe80-ef4b-454d-9d57-6915e985ffe4" providerId="ADAL" clId="{85B780A2-B91E-4DB8-B7A7-34747B31853F}" dt="2024-11-13T15:20:51.954" v="44" actId="113"/>
          <ac:spMkLst>
            <pc:docMk/>
            <pc:sldMk cId="1464731740" sldId="2147483646"/>
            <ac:spMk id="10" creationId="{5FF1A191-707E-9B36-DF7B-F2F5E250BD51}"/>
          </ac:spMkLst>
        </pc:spChg>
        <pc:spChg chg="add mod">
          <ac:chgData name="Lise Dumais" userId="9290fe80-ef4b-454d-9d57-6915e985ffe4" providerId="ADAL" clId="{85B780A2-B91E-4DB8-B7A7-34747B31853F}" dt="2024-11-13T15:20:37.243" v="43" actId="20577"/>
          <ac:spMkLst>
            <pc:docMk/>
            <pc:sldMk cId="1464731740" sldId="2147483646"/>
            <ac:spMk id="11" creationId="{137BBFBB-5F6B-7F0F-B8B6-A8078B0CE4F8}"/>
          </ac:spMkLst>
        </pc:spChg>
      </pc:sldChg>
      <pc:sldChg chg="del">
        <pc:chgData name="Lise Dumais" userId="9290fe80-ef4b-454d-9d57-6915e985ffe4" providerId="ADAL" clId="{85B780A2-B91E-4DB8-B7A7-34747B31853F}" dt="2024-11-13T15:56:12.504" v="124" actId="47"/>
        <pc:sldMkLst>
          <pc:docMk/>
          <pc:sldMk cId="1403031537" sldId="2147483647"/>
        </pc:sldMkLst>
      </pc:sldChg>
      <pc:sldChg chg="addSp delSp modSp mod">
        <pc:chgData name="Lise Dumais" userId="9290fe80-ef4b-454d-9d57-6915e985ffe4" providerId="ADAL" clId="{85B780A2-B91E-4DB8-B7A7-34747B31853F}" dt="2024-11-13T16:22:23.683" v="235" actId="1076"/>
        <pc:sldMkLst>
          <pc:docMk/>
          <pc:sldMk cId="2383918788" sldId="2147483647"/>
        </pc:sldMkLst>
        <pc:spChg chg="del">
          <ac:chgData name="Lise Dumais" userId="9290fe80-ef4b-454d-9d57-6915e985ffe4" providerId="ADAL" clId="{85B780A2-B91E-4DB8-B7A7-34747B31853F}" dt="2024-11-13T16:22:05.431" v="234" actId="478"/>
          <ac:spMkLst>
            <pc:docMk/>
            <pc:sldMk cId="2383918788" sldId="2147483647"/>
            <ac:spMk id="5" creationId="{D7312790-AEA5-1A9A-6F79-49FEAB82B980}"/>
          </ac:spMkLst>
        </pc:spChg>
        <pc:spChg chg="mod">
          <ac:chgData name="Lise Dumais" userId="9290fe80-ef4b-454d-9d57-6915e985ffe4" providerId="ADAL" clId="{85B780A2-B91E-4DB8-B7A7-34747B31853F}" dt="2024-11-13T16:18:14.414" v="215" actId="1076"/>
          <ac:spMkLst>
            <pc:docMk/>
            <pc:sldMk cId="2383918788" sldId="2147483647"/>
            <ac:spMk id="8" creationId="{76003DF3-3886-EF13-BBC7-52DAAA14597B}"/>
          </ac:spMkLst>
        </pc:spChg>
        <pc:spChg chg="add del mod">
          <ac:chgData name="Lise Dumais" userId="9290fe80-ef4b-454d-9d57-6915e985ffe4" providerId="ADAL" clId="{85B780A2-B91E-4DB8-B7A7-34747B31853F}" dt="2024-11-13T16:21:18.144" v="231" actId="1076"/>
          <ac:spMkLst>
            <pc:docMk/>
            <pc:sldMk cId="2383918788" sldId="2147483647"/>
            <ac:spMk id="9" creationId="{554EDB6A-883D-BDA2-0D76-B476DC2DC19F}"/>
          </ac:spMkLst>
        </pc:spChg>
        <pc:picChg chg="add del mod">
          <ac:chgData name="Lise Dumais" userId="9290fe80-ef4b-454d-9d57-6915e985ffe4" providerId="ADAL" clId="{85B780A2-B91E-4DB8-B7A7-34747B31853F}" dt="2024-11-13T16:21:02.326" v="227" actId="478"/>
          <ac:picMkLst>
            <pc:docMk/>
            <pc:sldMk cId="2383918788" sldId="2147483647"/>
            <ac:picMk id="11" creationId="{FE1889E3-10CF-093B-151F-E0C2ADBFE112}"/>
          </ac:picMkLst>
        </pc:picChg>
        <pc:picChg chg="add mod">
          <ac:chgData name="Lise Dumais" userId="9290fe80-ef4b-454d-9d57-6915e985ffe4" providerId="ADAL" clId="{85B780A2-B91E-4DB8-B7A7-34747B31853F}" dt="2024-11-13T16:22:23.683" v="235" actId="1076"/>
          <ac:picMkLst>
            <pc:docMk/>
            <pc:sldMk cId="2383918788" sldId="2147483647"/>
            <ac:picMk id="13" creationId="{0606C28D-1ECB-3308-A49F-91A6AC9C9140}"/>
          </ac:picMkLst>
        </pc:picChg>
        <pc:picChg chg="add del mod">
          <ac:chgData name="Lise Dumais" userId="9290fe80-ef4b-454d-9d57-6915e985ffe4" providerId="ADAL" clId="{85B780A2-B91E-4DB8-B7A7-34747B31853F}" dt="2024-11-13T16:20:54.094" v="223" actId="478"/>
          <ac:picMkLst>
            <pc:docMk/>
            <pc:sldMk cId="2383918788" sldId="2147483647"/>
            <ac:picMk id="2050" creationId="{63B0D988-6DB3-EAA4-31DC-FDBA2314FB64}"/>
          </ac:picMkLst>
        </pc:picChg>
      </pc:sldChg>
      <pc:sldMasterChg chg="addSldLayout delSldLayout">
        <pc:chgData name="Lise Dumais" userId="9290fe80-ef4b-454d-9d57-6915e985ffe4" providerId="ADAL" clId="{85B780A2-B91E-4DB8-B7A7-34747B31853F}" dt="2024-11-13T15:37:14.208" v="94" actId="47"/>
        <pc:sldMasterMkLst>
          <pc:docMk/>
          <pc:sldMasterMk cId="2163439397" sldId="2147483648"/>
        </pc:sldMasterMkLst>
        <pc:sldLayoutChg chg="add del">
          <pc:chgData name="Lise Dumais" userId="9290fe80-ef4b-454d-9d57-6915e985ffe4" providerId="ADAL" clId="{85B780A2-B91E-4DB8-B7A7-34747B31853F}" dt="2024-11-13T15:37:14.208" v="94" actId="47"/>
          <pc:sldLayoutMkLst>
            <pc:docMk/>
            <pc:sldMasterMk cId="2163439397" sldId="2147483648"/>
            <pc:sldLayoutMk cId="2697016869" sldId="2147483661"/>
          </pc:sldLayoutMkLst>
        </pc:sldLayoutChg>
      </pc:sldMasterChg>
      <pc:sldMasterChg chg="del delSldLayout">
        <pc:chgData name="Lise Dumais" userId="9290fe80-ef4b-454d-9d57-6915e985ffe4" providerId="ADAL" clId="{85B780A2-B91E-4DB8-B7A7-34747B31853F}" dt="2024-11-13T15:27:58.126" v="69" actId="47"/>
        <pc:sldMasterMkLst>
          <pc:docMk/>
          <pc:sldMasterMk cId="909687962" sldId="2147483663"/>
        </pc:sldMasterMkLst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033001508" sldId="2147483664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645092726" sldId="2147483665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182910567" sldId="2147483666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67075303" sldId="2147483667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751115590" sldId="2147483668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653948341" sldId="2147483669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922640301" sldId="2147483670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955909814" sldId="2147483671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885097446" sldId="2147483672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452780909" sldId="2147483673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981918160" sldId="2147483674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892625192" sldId="2147483675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640939634" sldId="2147483676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325217484" sldId="2147483677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66485670" sldId="2147483678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201302310" sldId="2147483679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858335761" sldId="2147483680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39890104" sldId="2147483681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641411722" sldId="2147483682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4225218872" sldId="2147483683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010946442" sldId="2147483684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529993479" sldId="2147483685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663255806" sldId="2147483686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970841600" sldId="2147483687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628451859" sldId="2147483688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834754945" sldId="2147483689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718794574" sldId="2147483690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341163636" sldId="2147483691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883093421" sldId="2147483692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561430670" sldId="2147483693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4155101276" sldId="2147483694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135854982" sldId="2147483695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797328635" sldId="2147483696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793859089" sldId="2147483697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56634041" sldId="2147483698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031901900" sldId="2147483699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4074937322" sldId="2147483700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838940243" sldId="2147483701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4187180940" sldId="2147483702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254240015" sldId="2147483703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646516285" sldId="2147483704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018072234" sldId="2147483705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479724725" sldId="2147483706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62301484" sldId="2147483707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820066280" sldId="2147483708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581719931" sldId="2147483709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27817395" sldId="2147483710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233388175" sldId="2147483711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545875084" sldId="2147483712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985480445" sldId="2147483713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482297010" sldId="2147483714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780057717" sldId="2147483715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12303986" sldId="2147483716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80965967" sldId="2147483717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894808523" sldId="2147483718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470818520" sldId="2147483719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109575855" sldId="2147483720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752820417" sldId="2147483721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73453882" sldId="2147483722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531351807" sldId="2147483723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784493673" sldId="2147483724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422581201" sldId="2147483725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929943602" sldId="2147483726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119466206" sldId="2147483727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200638195" sldId="2147483728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749300911" sldId="2147483729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213884753" sldId="2147483730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2504879207" sldId="2147483731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1186691844" sldId="2147483732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271413501" sldId="2147483733"/>
          </pc:sldLayoutMkLst>
        </pc:sldLayoutChg>
        <pc:sldLayoutChg chg="del">
          <pc:chgData name="Lise Dumais" userId="9290fe80-ef4b-454d-9d57-6915e985ffe4" providerId="ADAL" clId="{85B780A2-B91E-4DB8-B7A7-34747B31853F}" dt="2024-11-13T15:27:58.126" v="69" actId="47"/>
          <pc:sldLayoutMkLst>
            <pc:docMk/>
            <pc:sldMasterMk cId="909687962" sldId="2147483663"/>
            <pc:sldLayoutMk cId="3490336771" sldId="2147483734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BE2DA1-3945-4F48-833A-9E98E3B93DEA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A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B6D6D6-CFC9-4050-950B-75131D5C2F2E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496557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75565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AEF224-16E7-4431-9625-3FC645484319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35971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8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png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963CFB7-292B-ED36-6789-31EE0DBE5A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30376DB5-350B-CA19-15A1-EA4C2D4769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C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5DB53C4-57BE-84FC-615A-725A1C3D7A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5975367-571B-7A36-BDEB-EC097D3706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777C6AA-7784-37A5-5509-D21DACA66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6767349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33190C9-7A7D-E298-6BAC-54DA09DA46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C9B6F036-688B-8291-5875-C5CF1A26340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B235BBB-0CB5-C749-14A9-58C5F8C74B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4AC947C-527C-016D-0EE0-0727ADBFF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B5DD8D4-D7A4-E859-5514-F02CCCA40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7630903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5187F308-E6DD-F3B0-3BD9-ECC211FA459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E4D63A3F-903D-EB6E-EB1B-70C4EA4FE8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E1756FA-8A0E-82D0-1FC7-A0606F6DA1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1E22200-0C62-6BA0-BE4F-2E62A8DEF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7C45758-C2A4-D7F3-2A31-6E0264384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5863434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4FFB99ED-51AA-481F-9B5C-C0A5886F1D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A800A80F-CA27-463C-A1CF-7AEECE9FB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1143000"/>
            <a:ext cx="4630688" cy="2448272"/>
          </a:xfrm>
        </p:spPr>
        <p:txBody>
          <a:bodyPr tIns="0" anchor="b">
            <a:normAutofit/>
          </a:bodyPr>
          <a:lstStyle>
            <a:lvl1pPr algn="l">
              <a:lnSpc>
                <a:spcPct val="80000"/>
              </a:lnSpc>
              <a:defRPr sz="6000" spc="0">
                <a:solidFill>
                  <a:schemeClr val="accent1"/>
                </a:solidFill>
              </a:defRPr>
            </a:lvl1pPr>
          </a:lstStyle>
          <a:p>
            <a:r>
              <a:rPr lang="en-CA"/>
              <a:t>Presentation titl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E7F1344-69AA-41D5-BC4B-0D9DCAE3E8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3733800"/>
            <a:ext cx="4630688" cy="936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/>
              <a:t>Subtitl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B2420256-DED8-4E9C-A90F-015AC58976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74600"/>
            <a:ext cx="4630688" cy="28800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None/>
              <a:defRPr sz="1400"/>
            </a:lvl1pPr>
            <a:lvl2pPr marL="230400" indent="0">
              <a:buNone/>
              <a:defRPr/>
            </a:lvl2pPr>
            <a:lvl3pPr marL="439200" indent="0">
              <a:buNone/>
              <a:defRPr/>
            </a:lvl3pPr>
            <a:lvl4pPr marL="622800" indent="0">
              <a:buNone/>
              <a:defRPr/>
            </a:lvl4pPr>
            <a:lvl5pPr marL="802800" indent="0">
              <a:buNone/>
              <a:defRPr/>
            </a:lvl5pPr>
          </a:lstStyle>
          <a:p>
            <a:pPr lvl="0"/>
            <a:r>
              <a:rPr lang="en-CA"/>
              <a:t>Dat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4E0F7306-60AA-4A01-B5A4-1C21DAC2B2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62" y="5577515"/>
            <a:ext cx="2088000" cy="637199"/>
          </a:xfrm>
          <a:prstGeom prst="rect">
            <a:avLst/>
          </a:prstGeom>
        </p:spPr>
      </p:pic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CE076A70-3C38-4BFD-AD6C-048AD3D46F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4677600"/>
            <a:ext cx="4630688" cy="597000"/>
          </a:xfrm>
        </p:spPr>
        <p:txBody>
          <a:bodyPr anchor="t"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CA"/>
              <a:t>Name of the department and/or administrative department and/or division</a:t>
            </a:r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38F37748-755A-4974-9C7E-6F41ACDCA16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31905" y="455613"/>
            <a:ext cx="6960096" cy="59435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68400" marR="0" lvl="0" indent="-684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 "/>
              <a:tabLst/>
              <a:defRPr/>
            </a:pPr>
            <a:r>
              <a:rPr lang="en-CA"/>
              <a:t>Click the icon to add an image</a:t>
            </a:r>
          </a:p>
        </p:txBody>
      </p:sp>
    </p:spTree>
    <p:extLst>
      <p:ext uri="{BB962C8B-B14F-4D97-AF65-F5344CB8AC3E}">
        <p14:creationId xmlns:p14="http://schemas.microsoft.com/office/powerpoint/2010/main" val="113752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ge de ferme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5D855CC-DDFA-4D62-BB49-420FFDAEC1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A800A80F-CA27-463C-A1CF-7AEECE9FB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548021"/>
            <a:ext cx="9144000" cy="2376264"/>
          </a:xfrm>
        </p:spPr>
        <p:txBody>
          <a:bodyPr anchor="b"/>
          <a:lstStyle>
            <a:lvl1pPr algn="ctr"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fr-CA" dirty="0"/>
              <a:t>Ajoutez un message ici. Exemple : « Merci »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1785C56C-B58C-458F-8C9B-3E6BA540F3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6000" y="5358167"/>
            <a:ext cx="2520000" cy="769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28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e couverture SAN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6EF3CE08-CF80-47A5-8DA1-310D5E611D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A800A80F-CA27-463C-A1CF-7AEECE9FB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1143000"/>
            <a:ext cx="8519120" cy="2448000"/>
          </a:xfrm>
        </p:spPr>
        <p:txBody>
          <a:bodyPr tIns="0" anchor="b">
            <a:normAutofit/>
          </a:bodyPr>
          <a:lstStyle>
            <a:lvl1pPr algn="l">
              <a:lnSpc>
                <a:spcPct val="80000"/>
              </a:lnSpc>
              <a:defRPr sz="6000" spc="0">
                <a:solidFill>
                  <a:schemeClr val="accent1"/>
                </a:solidFill>
              </a:defRPr>
            </a:lvl1pPr>
          </a:lstStyle>
          <a:p>
            <a:r>
              <a:rPr lang="fr-CA"/>
              <a:t>Titre de la présentation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E7F1344-69AA-41D5-BC4B-0D9DCAE3E8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3733800"/>
            <a:ext cx="8519120" cy="936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CA"/>
              <a:t>Sous-tit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B2420256-DED8-4E9C-A90F-015AC58976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74600"/>
            <a:ext cx="4620540" cy="28800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None/>
              <a:defRPr sz="1400"/>
            </a:lvl1pPr>
            <a:lvl2pPr marL="230400" indent="0">
              <a:buNone/>
              <a:defRPr/>
            </a:lvl2pPr>
            <a:lvl3pPr marL="439200" indent="0">
              <a:buNone/>
              <a:defRPr/>
            </a:lvl3pPr>
            <a:lvl4pPr marL="622800" indent="0">
              <a:buNone/>
              <a:defRPr/>
            </a:lvl4pPr>
            <a:lvl5pPr marL="802800" indent="0">
              <a:buNone/>
              <a:defRPr/>
            </a:lvl5pPr>
          </a:lstStyle>
          <a:p>
            <a:pPr lvl="0"/>
            <a:r>
              <a:rPr lang="fr-CA"/>
              <a:t>Dat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FEC89C24-1FB7-41D2-B555-1BA3D78783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62" y="5577515"/>
            <a:ext cx="2088000" cy="637199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129A6E25-964A-4D03-BA81-2DB239E73D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4677440"/>
            <a:ext cx="8518525" cy="597160"/>
          </a:xfrm>
        </p:spPr>
        <p:txBody>
          <a:bodyPr anchor="t"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CA"/>
              <a:t>Nom de la direction et/ou DP et/ou VP</a:t>
            </a:r>
          </a:p>
        </p:txBody>
      </p:sp>
      <p:pic>
        <p:nvPicPr>
          <p:cNvPr id="8" name="Image 6">
            <a:extLst>
              <a:ext uri="{FF2B5EF4-FFF2-40B4-BE49-F238E27FC236}">
                <a16:creationId xmlns:a16="http://schemas.microsoft.com/office/drawing/2014/main" id="{70A612B7-5B57-4628-9F6D-4E4383DA3E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Image 11">
            <a:extLst>
              <a:ext uri="{FF2B5EF4-FFF2-40B4-BE49-F238E27FC236}">
                <a16:creationId xmlns:a16="http://schemas.microsoft.com/office/drawing/2014/main" id="{0AD65D4E-1AF8-41E4-AA34-E33032FB28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62" y="5577515"/>
            <a:ext cx="2088000" cy="63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17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e couverture AVE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4FFB99ED-51AA-481F-9B5C-C0A5886F1D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A800A80F-CA27-463C-A1CF-7AEECE9FB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1143000"/>
            <a:ext cx="4630688" cy="2448272"/>
          </a:xfrm>
        </p:spPr>
        <p:txBody>
          <a:bodyPr tIns="0" anchor="b">
            <a:normAutofit/>
          </a:bodyPr>
          <a:lstStyle>
            <a:lvl1pPr algn="l">
              <a:lnSpc>
                <a:spcPct val="80000"/>
              </a:lnSpc>
              <a:defRPr sz="6000" spc="0">
                <a:solidFill>
                  <a:schemeClr val="accent1"/>
                </a:solidFill>
              </a:defRPr>
            </a:lvl1pPr>
          </a:lstStyle>
          <a:p>
            <a:r>
              <a:rPr lang="fr-CA"/>
              <a:t>Titre de la présentation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E7F1344-69AA-41D5-BC4B-0D9DCAE3E8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3733800"/>
            <a:ext cx="4630688" cy="936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CA"/>
              <a:t>Sous-tit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B2420256-DED8-4E9C-A90F-015AC58976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74600"/>
            <a:ext cx="4630688" cy="28800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None/>
              <a:defRPr sz="1400"/>
            </a:lvl1pPr>
            <a:lvl2pPr marL="230400" indent="0">
              <a:buNone/>
              <a:defRPr/>
            </a:lvl2pPr>
            <a:lvl3pPr marL="439200" indent="0">
              <a:buNone/>
              <a:defRPr/>
            </a:lvl3pPr>
            <a:lvl4pPr marL="622800" indent="0">
              <a:buNone/>
              <a:defRPr/>
            </a:lvl4pPr>
            <a:lvl5pPr marL="802800" indent="0">
              <a:buNone/>
              <a:defRPr/>
            </a:lvl5pPr>
          </a:lstStyle>
          <a:p>
            <a:pPr lvl="0"/>
            <a:r>
              <a:rPr lang="fr-CA"/>
              <a:t>Dat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4E0F7306-60AA-4A01-B5A4-1C21DAC2B2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62" y="5577515"/>
            <a:ext cx="2088000" cy="637199"/>
          </a:xfrm>
          <a:prstGeom prst="rect">
            <a:avLst/>
          </a:prstGeom>
        </p:spPr>
      </p:pic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CE076A70-3C38-4BFD-AD6C-048AD3D46F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4677600"/>
            <a:ext cx="4630688" cy="597000"/>
          </a:xfrm>
        </p:spPr>
        <p:txBody>
          <a:bodyPr anchor="t"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fr-CA"/>
              <a:t>Nom de la direction et/ou DP et/ou VP</a:t>
            </a:r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38F37748-755A-4974-9C7E-6F41ACDCA16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31905" y="455613"/>
            <a:ext cx="6960096" cy="59435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68400" marR="0" lvl="0" indent="-684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 "/>
              <a:tabLst/>
              <a:defRPr/>
            </a:pPr>
            <a:r>
              <a:rPr lang="fr-CA"/>
              <a:t>Cliquez sur l’icône pour ajouter une image</a:t>
            </a:r>
          </a:p>
        </p:txBody>
      </p:sp>
      <p:pic>
        <p:nvPicPr>
          <p:cNvPr id="11" name="Image 5">
            <a:extLst>
              <a:ext uri="{FF2B5EF4-FFF2-40B4-BE49-F238E27FC236}">
                <a16:creationId xmlns:a16="http://schemas.microsoft.com/office/drawing/2014/main" id="{D5AB8BF9-5221-4E11-AC36-2BBB99109B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Image 9">
            <a:extLst>
              <a:ext uri="{FF2B5EF4-FFF2-40B4-BE49-F238E27FC236}">
                <a16:creationId xmlns:a16="http://schemas.microsoft.com/office/drawing/2014/main" id="{23D816B4-CA14-4421-AE91-2FB583E2B7B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62" y="5577515"/>
            <a:ext cx="2088000" cy="637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05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présentate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1EF68FFC-EE83-443D-9FAA-92C407C62C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Espace réservé pour une image  13">
            <a:extLst>
              <a:ext uri="{FF2B5EF4-FFF2-40B4-BE49-F238E27FC236}">
                <a16:creationId xmlns:a16="http://schemas.microsoft.com/office/drawing/2014/main" id="{6BBEC4A0-5937-43DC-B983-BCEE1E3BE4A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67408" y="764721"/>
            <a:ext cx="5184000" cy="5328575"/>
          </a:xfrm>
          <a:noFill/>
          <a:ln>
            <a:noFill/>
          </a:ln>
        </p:spPr>
        <p:txBody>
          <a:bodyPr lIns="180000" tIns="1080000" rIns="180000"/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pPr marL="0" lvl="0" indent="0">
              <a:buFont typeface="Arial" panose="020B0604020202020204" pitchFamily="34" charset="0"/>
              <a:buNone/>
            </a:pPr>
            <a:r>
              <a:rPr lang="fr-CA" noProof="0"/>
              <a:t>Cliquez sur l’icône pour ajouter une photo du présentateur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A4CACFF-FB3A-4DA2-B7C0-49D115000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7CBD116-C05F-4E57-89F3-569A563B7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F238EE87-A726-4BC8-8789-8939CA27DD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56040" y="1988840"/>
            <a:ext cx="5256000" cy="648072"/>
          </a:xfrm>
          <a:prstGeom prst="rect">
            <a:avLst/>
          </a:prstGeom>
          <a:noFill/>
        </p:spPr>
        <p:txBody>
          <a:bodyPr lIns="68400" tIns="0" rIns="6840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Nom du présentateur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077A0983-9ADC-4BD5-A3C0-F8D2F91B9BF1}"/>
              </a:ext>
            </a:extLst>
          </p:cNvPr>
          <p:cNvCxnSpPr/>
          <p:nvPr/>
        </p:nvCxnSpPr>
        <p:spPr>
          <a:xfrm>
            <a:off x="6528048" y="3068960"/>
            <a:ext cx="518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274CE70-4E8F-4B1B-8D2C-63DB6C9A8FD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 b="0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68F07718-5A1D-4656-AD8A-04300B7C7AF2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6456040" y="2636912"/>
            <a:ext cx="5256000" cy="294196"/>
          </a:xfrm>
          <a:prstGeom prst="rect">
            <a:avLst/>
          </a:prstGeom>
          <a:noFill/>
        </p:spPr>
        <p:txBody>
          <a:bodyPr lIns="68400" tIns="0" rIns="68400" bIns="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Titre du présentateur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86D2E1C-3411-4E54-8761-FD96D16393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56013" y="3358934"/>
            <a:ext cx="5256000" cy="273436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B10F522B-963E-4A42-B2E6-A839A62840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  <p:pic>
        <p:nvPicPr>
          <p:cNvPr id="12" name="Image 4">
            <a:extLst>
              <a:ext uri="{FF2B5EF4-FFF2-40B4-BE49-F238E27FC236}">
                <a16:creationId xmlns:a16="http://schemas.microsoft.com/office/drawing/2014/main" id="{7CB87CE7-41F9-4ABE-99D1-03EEA11BAC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5" name="Connecteur droit 18">
            <a:extLst>
              <a:ext uri="{FF2B5EF4-FFF2-40B4-BE49-F238E27FC236}">
                <a16:creationId xmlns:a16="http://schemas.microsoft.com/office/drawing/2014/main" id="{4AF4E36D-ADC7-4B0D-A0FB-30662FE940B7}"/>
              </a:ext>
            </a:extLst>
          </p:cNvPr>
          <p:cNvCxnSpPr/>
          <p:nvPr userDrawn="1"/>
        </p:nvCxnSpPr>
        <p:spPr>
          <a:xfrm>
            <a:off x="6528048" y="3068960"/>
            <a:ext cx="518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2">
            <a:extLst>
              <a:ext uri="{FF2B5EF4-FFF2-40B4-BE49-F238E27FC236}">
                <a16:creationId xmlns:a16="http://schemas.microsoft.com/office/drawing/2014/main" id="{A24ABDA4-94B2-4848-A39B-79AE19F658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80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2 présentateu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 19">
            <a:extLst>
              <a:ext uri="{FF2B5EF4-FFF2-40B4-BE49-F238E27FC236}">
                <a16:creationId xmlns:a16="http://schemas.microsoft.com/office/drawing/2014/main" id="{63E0C517-856E-48A1-B2FC-8CE3626D3A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EFBA2DBF-C977-499C-AD01-F83A8681D41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  <p:sp>
        <p:nvSpPr>
          <p:cNvPr id="7" name="Espace réservé pour une image  13">
            <a:extLst>
              <a:ext uri="{FF2B5EF4-FFF2-40B4-BE49-F238E27FC236}">
                <a16:creationId xmlns:a16="http://schemas.microsoft.com/office/drawing/2014/main" id="{6BBEC4A0-5937-43DC-B983-BCEE1E3BE4A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67408" y="764721"/>
            <a:ext cx="2088232" cy="2088215"/>
          </a:xfrm>
          <a:noFill/>
          <a:ln>
            <a:noFill/>
          </a:ln>
        </p:spPr>
        <p:txBody>
          <a:bodyPr lIns="180000" tIns="0" rIns="180000"/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marL="0" lvl="0" indent="0">
              <a:buFont typeface="Arial" panose="020B0604020202020204" pitchFamily="34" charset="0"/>
              <a:buNone/>
            </a:pPr>
            <a:r>
              <a:rPr lang="fr-CA" noProof="0"/>
              <a:t>Cliquez sur l’icône pour ajouter une photo du présentateur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A4CACFF-FB3A-4DA2-B7C0-49D115000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7CBD116-C05F-4E57-89F3-569A563B7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F238EE87-A726-4BC8-8789-8939CA27DD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071664" y="2348920"/>
            <a:ext cx="2879744" cy="287992"/>
          </a:xfrm>
          <a:prstGeom prst="rect">
            <a:avLst/>
          </a:prstGeom>
          <a:noFill/>
        </p:spPr>
        <p:txBody>
          <a:bodyPr lIns="68400" tIns="0" rIns="6840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Nom du présentateur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077A0983-9ADC-4BD5-A3C0-F8D2F91B9BF1}"/>
              </a:ext>
            </a:extLst>
          </p:cNvPr>
          <p:cNvCxnSpPr/>
          <p:nvPr/>
        </p:nvCxnSpPr>
        <p:spPr>
          <a:xfrm>
            <a:off x="767408" y="3140968"/>
            <a:ext cx="518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274CE70-4E8F-4B1B-8D2C-63DB6C9A8FD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 b="0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68F07718-5A1D-4656-AD8A-04300B7C7AF2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3071664" y="2636914"/>
            <a:ext cx="2879744" cy="216021"/>
          </a:xfrm>
          <a:prstGeom prst="rect">
            <a:avLst/>
          </a:prstGeom>
          <a:noFill/>
        </p:spPr>
        <p:txBody>
          <a:bodyPr lIns="68400" tIns="0" rIns="6840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Titre du présentateur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86D2E1C-3411-4E54-8761-FD96D16393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5400" y="3358934"/>
            <a:ext cx="5256008" cy="287839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</p:txBody>
      </p:sp>
      <p:sp>
        <p:nvSpPr>
          <p:cNvPr id="13" name="Espace réservé pour une image  13">
            <a:extLst>
              <a:ext uri="{FF2B5EF4-FFF2-40B4-BE49-F238E27FC236}">
                <a16:creationId xmlns:a16="http://schemas.microsoft.com/office/drawing/2014/main" id="{0DF6767A-8284-4F90-B218-51CDC02A72E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528048" y="764704"/>
            <a:ext cx="2088232" cy="2088215"/>
          </a:xfrm>
          <a:noFill/>
          <a:ln>
            <a:noFill/>
          </a:ln>
        </p:spPr>
        <p:txBody>
          <a:bodyPr lIns="180000" tIns="0" rIns="180000"/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pPr marL="0" lvl="0" indent="0">
              <a:buFont typeface="Arial" panose="020B0604020202020204" pitchFamily="34" charset="0"/>
              <a:buNone/>
            </a:pPr>
            <a:r>
              <a:rPr lang="fr-CA" noProof="0"/>
              <a:t>Cliquez sur l’icône pour ajouter une photo du présentateur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9A55C432-3678-4F12-891B-0417F412230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8832304" y="2348903"/>
            <a:ext cx="2879744" cy="287992"/>
          </a:xfrm>
          <a:prstGeom prst="rect">
            <a:avLst/>
          </a:prstGeom>
          <a:noFill/>
        </p:spPr>
        <p:txBody>
          <a:bodyPr lIns="68400" tIns="0" rIns="6840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Nom du présentateur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B79E5745-282E-4CD3-A798-06E40129CEF8}"/>
              </a:ext>
            </a:extLst>
          </p:cNvPr>
          <p:cNvCxnSpPr/>
          <p:nvPr/>
        </p:nvCxnSpPr>
        <p:spPr>
          <a:xfrm>
            <a:off x="6528048" y="3140951"/>
            <a:ext cx="518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75884512-FD79-4E6D-B885-53E7B7707B61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8832304" y="2636897"/>
            <a:ext cx="2879744" cy="216021"/>
          </a:xfrm>
          <a:prstGeom prst="rect">
            <a:avLst/>
          </a:prstGeom>
          <a:noFill/>
        </p:spPr>
        <p:txBody>
          <a:bodyPr lIns="68400" tIns="0" rIns="6840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Titre du présentateur</a:t>
            </a:r>
          </a:p>
        </p:txBody>
      </p:sp>
      <p:sp>
        <p:nvSpPr>
          <p:cNvPr id="18" name="Espace réservé du texte 22">
            <a:extLst>
              <a:ext uri="{FF2B5EF4-FFF2-40B4-BE49-F238E27FC236}">
                <a16:creationId xmlns:a16="http://schemas.microsoft.com/office/drawing/2014/main" id="{2390DEF8-7F2B-4CE2-9AC1-233271B9C1D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56040" y="3358917"/>
            <a:ext cx="5256008" cy="287839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</p:txBody>
      </p:sp>
      <p:pic>
        <p:nvPicPr>
          <p:cNvPr id="24" name="Image 19">
            <a:extLst>
              <a:ext uri="{FF2B5EF4-FFF2-40B4-BE49-F238E27FC236}">
                <a16:creationId xmlns:a16="http://schemas.microsoft.com/office/drawing/2014/main" id="{FBB79DF0-B820-4FA6-827D-183E9574EF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" name="Image 21">
            <a:extLst>
              <a:ext uri="{FF2B5EF4-FFF2-40B4-BE49-F238E27FC236}">
                <a16:creationId xmlns:a16="http://schemas.microsoft.com/office/drawing/2014/main" id="{41388C09-BFEC-4B53-B0FC-4BF3A202DDD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  <p:cxnSp>
        <p:nvCxnSpPr>
          <p:cNvPr id="26" name="Connecteur droit 18">
            <a:extLst>
              <a:ext uri="{FF2B5EF4-FFF2-40B4-BE49-F238E27FC236}">
                <a16:creationId xmlns:a16="http://schemas.microsoft.com/office/drawing/2014/main" id="{D77799E0-2EAC-41AC-9131-7B0C1BEA10B2}"/>
              </a:ext>
            </a:extLst>
          </p:cNvPr>
          <p:cNvCxnSpPr/>
          <p:nvPr userDrawn="1"/>
        </p:nvCxnSpPr>
        <p:spPr>
          <a:xfrm>
            <a:off x="767408" y="3140968"/>
            <a:ext cx="518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15">
            <a:extLst>
              <a:ext uri="{FF2B5EF4-FFF2-40B4-BE49-F238E27FC236}">
                <a16:creationId xmlns:a16="http://schemas.microsoft.com/office/drawing/2014/main" id="{75C6B227-CC14-42F6-958B-06722AF49EDC}"/>
              </a:ext>
            </a:extLst>
          </p:cNvPr>
          <p:cNvCxnSpPr/>
          <p:nvPr userDrawn="1"/>
        </p:nvCxnSpPr>
        <p:spPr>
          <a:xfrm>
            <a:off x="6528048" y="3140951"/>
            <a:ext cx="518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5283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3 présentateu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age 28">
            <a:extLst>
              <a:ext uri="{FF2B5EF4-FFF2-40B4-BE49-F238E27FC236}">
                <a16:creationId xmlns:a16="http://schemas.microsoft.com/office/drawing/2014/main" id="{FC0B7575-6B53-424A-A49F-F386274464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CED9CF17-FDF4-45D3-93ED-B98164153D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  <p:sp>
        <p:nvSpPr>
          <p:cNvPr id="7" name="Espace réservé pour une image  13">
            <a:extLst>
              <a:ext uri="{FF2B5EF4-FFF2-40B4-BE49-F238E27FC236}">
                <a16:creationId xmlns:a16="http://schemas.microsoft.com/office/drawing/2014/main" id="{6BBEC4A0-5937-43DC-B983-BCEE1E3BE4A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67408" y="764722"/>
            <a:ext cx="1296144" cy="1296000"/>
          </a:xfrm>
          <a:noFill/>
          <a:ln>
            <a:noFill/>
          </a:ln>
        </p:spPr>
        <p:txBody>
          <a:bodyPr lIns="0" tIns="0" rIns="0"/>
          <a:lstStyle>
            <a:lvl1pPr marL="0" indent="0" algn="ctr">
              <a:buFont typeface="Arial" panose="020B0604020202020204" pitchFamily="34" charset="0"/>
              <a:buNone/>
              <a:defRPr sz="1100"/>
            </a:lvl1pPr>
          </a:lstStyle>
          <a:p>
            <a:pPr marL="0" lvl="0" indent="0">
              <a:buFont typeface="Arial" panose="020B0604020202020204" pitchFamily="34" charset="0"/>
              <a:buNone/>
            </a:pPr>
            <a:r>
              <a:rPr lang="fr-CA" noProof="0"/>
              <a:t>Cliquez sur l’icône pour ajouter une photo du présentateur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A4CACFF-FB3A-4DA2-B7C0-49D115000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7CBD116-C05F-4E57-89F3-569A563B7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F238EE87-A726-4BC8-8789-8939CA27DD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5400" y="2134669"/>
            <a:ext cx="3096344" cy="430212"/>
          </a:xfrm>
          <a:prstGeom prst="rect">
            <a:avLst/>
          </a:prstGeom>
          <a:noFill/>
        </p:spPr>
        <p:txBody>
          <a:bodyPr lIns="68400" tIns="0" rIns="6840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Nom du présentateur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077A0983-9ADC-4BD5-A3C0-F8D2F91B9BF1}"/>
              </a:ext>
            </a:extLst>
          </p:cNvPr>
          <p:cNvCxnSpPr/>
          <p:nvPr/>
        </p:nvCxnSpPr>
        <p:spPr>
          <a:xfrm>
            <a:off x="767408" y="3284984"/>
            <a:ext cx="3456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274CE70-4E8F-4B1B-8D2C-63DB6C9A8FD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 b="0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68F07718-5A1D-4656-AD8A-04300B7C7AF2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695400" y="2564883"/>
            <a:ext cx="3096344" cy="504094"/>
          </a:xfrm>
          <a:prstGeom prst="rect">
            <a:avLst/>
          </a:prstGeom>
          <a:noFill/>
        </p:spPr>
        <p:txBody>
          <a:bodyPr lIns="68400" tIns="0" rIns="6840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Titre du présentateur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86D2E1C-3411-4E54-8761-FD96D16393B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5400" y="3358931"/>
            <a:ext cx="3528392" cy="287839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</p:txBody>
      </p:sp>
      <p:sp>
        <p:nvSpPr>
          <p:cNvPr id="13" name="Espace réservé pour une image  13">
            <a:extLst>
              <a:ext uri="{FF2B5EF4-FFF2-40B4-BE49-F238E27FC236}">
                <a16:creationId xmlns:a16="http://schemas.microsoft.com/office/drawing/2014/main" id="{0DF6767A-8284-4F90-B218-51CDC02A72E5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4511824" y="764705"/>
            <a:ext cx="1296144" cy="1296000"/>
          </a:xfrm>
          <a:noFill/>
          <a:ln>
            <a:noFill/>
          </a:ln>
        </p:spPr>
        <p:txBody>
          <a:bodyPr lIns="0" tIns="0" rIns="0"/>
          <a:lstStyle>
            <a:lvl1pPr marL="0" indent="0" algn="ctr">
              <a:buFont typeface="Arial" panose="020B0604020202020204" pitchFamily="34" charset="0"/>
              <a:buNone/>
              <a:defRPr sz="1100"/>
            </a:lvl1pPr>
          </a:lstStyle>
          <a:p>
            <a:pPr marL="0" lvl="0" indent="0">
              <a:buFont typeface="Arial" panose="020B0604020202020204" pitchFamily="34" charset="0"/>
              <a:buNone/>
            </a:pPr>
            <a:r>
              <a:rPr lang="fr-CA" noProof="0"/>
              <a:t>Cliquez sur l’icône pour ajouter une photo du présentateur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9A55C432-3678-4F12-891B-0417F4122302}"/>
              </a:ext>
            </a:extLst>
          </p:cNvPr>
          <p:cNvSpPr>
            <a:spLocks noGrp="1"/>
          </p:cNvSpPr>
          <p:nvPr>
            <p:ph type="body" idx="36" hasCustomPrompt="1"/>
          </p:nvPr>
        </p:nvSpPr>
        <p:spPr>
          <a:xfrm>
            <a:off x="4439816" y="2134652"/>
            <a:ext cx="3096344" cy="430212"/>
          </a:xfrm>
          <a:prstGeom prst="rect">
            <a:avLst/>
          </a:prstGeom>
          <a:noFill/>
        </p:spPr>
        <p:txBody>
          <a:bodyPr lIns="68400" tIns="0" rIns="6840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Nom du présentateur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B79E5745-282E-4CD3-A798-06E40129CEF8}"/>
              </a:ext>
            </a:extLst>
          </p:cNvPr>
          <p:cNvCxnSpPr/>
          <p:nvPr/>
        </p:nvCxnSpPr>
        <p:spPr>
          <a:xfrm>
            <a:off x="4511824" y="3284967"/>
            <a:ext cx="3456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75884512-FD79-4E6D-B885-53E7B7707B61}"/>
              </a:ext>
            </a:extLst>
          </p:cNvPr>
          <p:cNvSpPr>
            <a:spLocks noGrp="1"/>
          </p:cNvSpPr>
          <p:nvPr>
            <p:ph type="body" idx="37" hasCustomPrompt="1"/>
          </p:nvPr>
        </p:nvSpPr>
        <p:spPr>
          <a:xfrm>
            <a:off x="4439816" y="2564866"/>
            <a:ext cx="3096344" cy="504094"/>
          </a:xfrm>
          <a:prstGeom prst="rect">
            <a:avLst/>
          </a:prstGeom>
          <a:noFill/>
        </p:spPr>
        <p:txBody>
          <a:bodyPr lIns="68400" tIns="0" rIns="6840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Titre du présentateur</a:t>
            </a:r>
          </a:p>
        </p:txBody>
      </p:sp>
      <p:sp>
        <p:nvSpPr>
          <p:cNvPr id="18" name="Espace réservé du texte 22">
            <a:extLst>
              <a:ext uri="{FF2B5EF4-FFF2-40B4-BE49-F238E27FC236}">
                <a16:creationId xmlns:a16="http://schemas.microsoft.com/office/drawing/2014/main" id="{2390DEF8-7F2B-4CE2-9AC1-233271B9C1D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39816" y="3358914"/>
            <a:ext cx="3528392" cy="287839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</p:txBody>
      </p:sp>
      <p:sp>
        <p:nvSpPr>
          <p:cNvPr id="20" name="Espace réservé pour une image  13">
            <a:extLst>
              <a:ext uri="{FF2B5EF4-FFF2-40B4-BE49-F238E27FC236}">
                <a16:creationId xmlns:a16="http://schemas.microsoft.com/office/drawing/2014/main" id="{7EE67EAA-3FBD-41A1-9311-3832CD52112F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8256240" y="764704"/>
            <a:ext cx="1296144" cy="1296000"/>
          </a:xfrm>
          <a:noFill/>
          <a:ln>
            <a:noFill/>
          </a:ln>
        </p:spPr>
        <p:txBody>
          <a:bodyPr lIns="0" tIns="0" rIns="0"/>
          <a:lstStyle>
            <a:lvl1pPr marL="0" indent="0" algn="ctr">
              <a:buFont typeface="Arial" panose="020B0604020202020204" pitchFamily="34" charset="0"/>
              <a:buNone/>
              <a:defRPr sz="1100"/>
            </a:lvl1pPr>
          </a:lstStyle>
          <a:p>
            <a:pPr marL="0" lvl="0" indent="0">
              <a:buFont typeface="Arial" panose="020B0604020202020204" pitchFamily="34" charset="0"/>
              <a:buNone/>
            </a:pPr>
            <a:r>
              <a:rPr lang="fr-CA" noProof="0"/>
              <a:t>Cliquez sur l’icône pour ajouter une photo du présentateur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5DFF3B70-C6BA-4EAB-AFC7-4AFF344D95B9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8184232" y="2134651"/>
            <a:ext cx="3096344" cy="430212"/>
          </a:xfrm>
          <a:prstGeom prst="rect">
            <a:avLst/>
          </a:prstGeom>
          <a:noFill/>
        </p:spPr>
        <p:txBody>
          <a:bodyPr lIns="68400" tIns="0" rIns="6840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Nom du présentateur</a:t>
            </a:r>
          </a:p>
        </p:txBody>
      </p: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A20AF73E-646A-4A60-A890-EECEBC5AC2DE}"/>
              </a:ext>
            </a:extLst>
          </p:cNvPr>
          <p:cNvCxnSpPr/>
          <p:nvPr/>
        </p:nvCxnSpPr>
        <p:spPr>
          <a:xfrm>
            <a:off x="8256240" y="3284966"/>
            <a:ext cx="3456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B5DDCF0F-8CBE-433B-AEC3-1AE0414D5D4D}"/>
              </a:ext>
            </a:extLst>
          </p:cNvPr>
          <p:cNvSpPr>
            <a:spLocks noGrp="1"/>
          </p:cNvSpPr>
          <p:nvPr>
            <p:ph type="body" idx="41" hasCustomPrompt="1"/>
          </p:nvPr>
        </p:nvSpPr>
        <p:spPr>
          <a:xfrm>
            <a:off x="8184232" y="2564865"/>
            <a:ext cx="3096344" cy="504094"/>
          </a:xfrm>
          <a:prstGeom prst="rect">
            <a:avLst/>
          </a:prstGeom>
          <a:noFill/>
        </p:spPr>
        <p:txBody>
          <a:bodyPr lIns="68400" tIns="0" rIns="6840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CA" noProof="0"/>
              <a:t>Titre du présentateur</a:t>
            </a:r>
          </a:p>
        </p:txBody>
      </p:sp>
      <p:sp>
        <p:nvSpPr>
          <p:cNvPr id="26" name="Espace réservé du texte 22">
            <a:extLst>
              <a:ext uri="{FF2B5EF4-FFF2-40B4-BE49-F238E27FC236}">
                <a16:creationId xmlns:a16="http://schemas.microsoft.com/office/drawing/2014/main" id="{F01F4065-56DE-448A-B203-35A16BA5B5D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84232" y="3358913"/>
            <a:ext cx="3528392" cy="287839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</p:txBody>
      </p:sp>
      <p:pic>
        <p:nvPicPr>
          <p:cNvPr id="27" name="Image 28">
            <a:extLst>
              <a:ext uri="{FF2B5EF4-FFF2-40B4-BE49-F238E27FC236}">
                <a16:creationId xmlns:a16="http://schemas.microsoft.com/office/drawing/2014/main" id="{BE7387DE-4F11-4AC1-9780-9E339477BF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0" name="Image 27">
            <a:extLst>
              <a:ext uri="{FF2B5EF4-FFF2-40B4-BE49-F238E27FC236}">
                <a16:creationId xmlns:a16="http://schemas.microsoft.com/office/drawing/2014/main" id="{EE4EEFAD-4584-4B05-992E-53BC595B16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  <p:cxnSp>
        <p:nvCxnSpPr>
          <p:cNvPr id="31" name="Connecteur droit 18">
            <a:extLst>
              <a:ext uri="{FF2B5EF4-FFF2-40B4-BE49-F238E27FC236}">
                <a16:creationId xmlns:a16="http://schemas.microsoft.com/office/drawing/2014/main" id="{89E6748D-5F71-4259-9E7C-C135B886549D}"/>
              </a:ext>
            </a:extLst>
          </p:cNvPr>
          <p:cNvCxnSpPr/>
          <p:nvPr userDrawn="1"/>
        </p:nvCxnSpPr>
        <p:spPr>
          <a:xfrm>
            <a:off x="767408" y="3284984"/>
            <a:ext cx="3456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15">
            <a:extLst>
              <a:ext uri="{FF2B5EF4-FFF2-40B4-BE49-F238E27FC236}">
                <a16:creationId xmlns:a16="http://schemas.microsoft.com/office/drawing/2014/main" id="{1188E761-EBC4-453A-9F0D-B8E45982BD9C}"/>
              </a:ext>
            </a:extLst>
          </p:cNvPr>
          <p:cNvCxnSpPr/>
          <p:nvPr userDrawn="1"/>
        </p:nvCxnSpPr>
        <p:spPr>
          <a:xfrm>
            <a:off x="4511824" y="3284967"/>
            <a:ext cx="3456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23">
            <a:extLst>
              <a:ext uri="{FF2B5EF4-FFF2-40B4-BE49-F238E27FC236}">
                <a16:creationId xmlns:a16="http://schemas.microsoft.com/office/drawing/2014/main" id="{CF6524C1-3EC4-4ED1-B7B7-AE6EF0248997}"/>
              </a:ext>
            </a:extLst>
          </p:cNvPr>
          <p:cNvCxnSpPr/>
          <p:nvPr userDrawn="1"/>
        </p:nvCxnSpPr>
        <p:spPr>
          <a:xfrm>
            <a:off x="8256240" y="3284966"/>
            <a:ext cx="3456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10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e de ferme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5D855CC-DDFA-4D62-BB49-420FFDAEC1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A800A80F-CA27-463C-A1CF-7AEECE9FB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548021"/>
            <a:ext cx="9144000" cy="2376264"/>
          </a:xfrm>
        </p:spPr>
        <p:txBody>
          <a:bodyPr anchor="b"/>
          <a:lstStyle>
            <a:lvl1pPr algn="ctr"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fr-CA"/>
              <a:t>Ajoutez un message ici. Exemple : « Merci ».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1785C56C-B58C-458F-8C9B-3E6BA540F3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6000" y="5358167"/>
            <a:ext cx="2520000" cy="769033"/>
          </a:xfrm>
          <a:prstGeom prst="rect">
            <a:avLst/>
          </a:prstGeom>
        </p:spPr>
      </p:pic>
      <p:pic>
        <p:nvPicPr>
          <p:cNvPr id="5" name="Image 6">
            <a:extLst>
              <a:ext uri="{FF2B5EF4-FFF2-40B4-BE49-F238E27FC236}">
                <a16:creationId xmlns:a16="http://schemas.microsoft.com/office/drawing/2014/main" id="{F0C9B53F-12F0-4227-B755-28A3F09A26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Image 9">
            <a:extLst>
              <a:ext uri="{FF2B5EF4-FFF2-40B4-BE49-F238E27FC236}">
                <a16:creationId xmlns:a16="http://schemas.microsoft.com/office/drawing/2014/main" id="{31E1CAEB-322B-4589-A3E2-66861AB95A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6000" y="5358167"/>
            <a:ext cx="2520000" cy="769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668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7E426C8-B5D7-3AC2-D589-0F768D6C1E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1E9523D-30E7-0EA7-232A-5364B0BAA2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30F0F7E-EFAD-C790-87AF-AF54306FFF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F402946-55D2-9BE3-0A12-3C5C420B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9823120-B1DD-B1BD-9D18-BAFB7575B4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7108034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positions de 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6EB5E8FF-5078-489E-B874-25D4FFBB4221}"/>
              </a:ext>
            </a:extLst>
          </p:cNvPr>
          <p:cNvSpPr txBox="1"/>
          <p:nvPr/>
        </p:nvSpPr>
        <p:spPr>
          <a:xfrm>
            <a:off x="479376" y="1905506"/>
            <a:ext cx="11233248" cy="30469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spcBef>
                <a:spcPts val="1400"/>
              </a:spcBef>
            </a:pPr>
            <a:r>
              <a:rPr lang="fr-CA" sz="9600" b="1">
                <a:solidFill>
                  <a:schemeClr val="bg1"/>
                </a:solidFill>
              </a:rPr>
              <a:t>Dispositions </a:t>
            </a:r>
            <a:br>
              <a:rPr lang="fr-CA" sz="9600" b="1">
                <a:solidFill>
                  <a:schemeClr val="bg1"/>
                </a:solidFill>
              </a:rPr>
            </a:br>
            <a:r>
              <a:rPr lang="fr-CA" sz="9600" b="1">
                <a:solidFill>
                  <a:schemeClr val="bg1"/>
                </a:solidFill>
              </a:rPr>
              <a:t>de section</a:t>
            </a:r>
          </a:p>
        </p:txBody>
      </p:sp>
    </p:spTree>
    <p:extLst>
      <p:ext uri="{BB962C8B-B14F-4D97-AF65-F5344CB8AC3E}">
        <p14:creationId xmlns:p14="http://schemas.microsoft.com/office/powerpoint/2010/main" val="209423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ste de contenu déroul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6387D76-3E20-4B6B-9183-E561C0C434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531B8B5C-36AE-49ED-8CBE-90633204D6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828800"/>
            <a:ext cx="11727359" cy="57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400">
                <a:solidFill>
                  <a:schemeClr val="bg1"/>
                </a:solidFill>
              </a:defRPr>
            </a:lvl1pPr>
            <a:lvl2pPr marL="230400" indent="0">
              <a:buNone/>
              <a:defRPr/>
            </a:lvl2pPr>
            <a:lvl3pPr marL="439200" indent="0">
              <a:buNone/>
              <a:defRPr/>
            </a:lvl3pPr>
            <a:lvl4pPr marL="622800" indent="0">
              <a:buNone/>
              <a:defRPr/>
            </a:lvl4pPr>
            <a:lvl5pPr marL="802800" indent="0">
              <a:buNone/>
              <a:defRPr/>
            </a:lvl5pPr>
          </a:lstStyle>
          <a:p>
            <a:pPr lvl="0"/>
            <a:r>
              <a:rPr lang="fr-CA"/>
              <a:t>.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DC52E04-F319-43F3-8235-ADF1042F02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20800"/>
            <a:ext cx="11183416" cy="1008000"/>
          </a:xfrm>
        </p:spPr>
        <p:txBody>
          <a:bodyPr>
            <a:noAutofit/>
          </a:bodyPr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fr-CA"/>
              <a:t>« Contenu » ou « Ordre du jour »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227E1A5-3C07-4E67-9BEF-8388EB7BCB7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814400"/>
            <a:ext cx="11183416" cy="4362563"/>
          </a:xfrm>
        </p:spPr>
        <p:txBody>
          <a:bodyPr/>
          <a:lstStyle>
            <a:lvl1pPr marL="792000" indent="-504000">
              <a:spcBef>
                <a:spcPts val="2400"/>
              </a:spcBef>
              <a:buClr>
                <a:schemeClr val="tx1"/>
              </a:buClr>
              <a:buSzPct val="100000"/>
              <a:buFont typeface="+mj-lt"/>
              <a:buAutoNum type="arabicPeriod"/>
              <a:defRPr sz="3200" b="1"/>
            </a:lvl1pPr>
            <a:lvl2pPr marL="1224000" indent="-396000"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800"/>
            </a:lvl5pPr>
            <a:lvl6pPr>
              <a:defRPr sz="2400"/>
            </a:lvl6pPr>
            <a:lvl7pPr>
              <a:defRPr sz="3200"/>
            </a:lvl7pPr>
            <a:lvl8pPr>
              <a:defRPr sz="2800"/>
            </a:lvl8pPr>
            <a:lvl9pPr>
              <a:defRPr sz="2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AA849EDA-80B2-4C83-9977-E4101F34D5A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pic>
        <p:nvPicPr>
          <p:cNvPr id="7" name="Image 4">
            <a:extLst>
              <a:ext uri="{FF2B5EF4-FFF2-40B4-BE49-F238E27FC236}">
                <a16:creationId xmlns:a16="http://schemas.microsoft.com/office/drawing/2014/main" id="{1D5AAD0E-A106-4120-8955-03C0A20A4B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68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ANS image - Font 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25225570-1FAE-4A0D-8C77-B259F17A08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68E80D-9335-46F6-9FDF-FDECDFF1D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35544-D370-40FF-9996-A300DE4ECAF0}" type="datetime1">
              <a:rPr lang="fr-CA" smtClean="0"/>
              <a:t>2024-11-14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A8FE17-C317-4959-BF34-0C19774A2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772816"/>
            <a:ext cx="8951168" cy="2160240"/>
          </a:xfrm>
        </p:spPr>
        <p:txBody>
          <a:bodyPr anchor="b">
            <a:normAutofit/>
          </a:bodyPr>
          <a:lstStyle>
            <a:lvl1pPr algn="l">
              <a:lnSpc>
                <a:spcPct val="80000"/>
              </a:lnSpc>
              <a:defRPr sz="6000" spc="0">
                <a:solidFill>
                  <a:schemeClr val="accent1"/>
                </a:solidFill>
              </a:defRPr>
            </a:lvl1pPr>
          </a:lstStyle>
          <a:p>
            <a:r>
              <a:rPr lang="fr-CA"/>
              <a:t>Titre de la sectio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3E48DC7-507A-40DD-AD95-27706BEEE1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7200" y="3933224"/>
            <a:ext cx="8951168" cy="503888"/>
          </a:xfrm>
        </p:spPr>
        <p:txBody>
          <a:bodyPr lIns="36000" rIns="36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CA"/>
              <a:t>Sous-titre de la section</a:t>
            </a:r>
          </a:p>
        </p:txBody>
      </p:sp>
      <p:pic>
        <p:nvPicPr>
          <p:cNvPr id="7" name="Image 5">
            <a:extLst>
              <a:ext uri="{FF2B5EF4-FFF2-40B4-BE49-F238E27FC236}">
                <a16:creationId xmlns:a16="http://schemas.microsoft.com/office/drawing/2014/main" id="{163A433F-B687-4986-8A91-D9A6AEB956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474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ANS image - Font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D27C7032-51E8-430B-8411-A731D1E422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68E80D-9335-46F6-9FDF-FDECDFF1D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35544-D370-40FF-9996-A300DE4ECAF0}" type="datetime1">
              <a:rPr lang="fr-CA" smtClean="0"/>
              <a:t>2024-11-14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A8FE17-C317-4959-BF34-0C19774A2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772816"/>
            <a:ext cx="8951168" cy="2160240"/>
          </a:xfrm>
        </p:spPr>
        <p:txBody>
          <a:bodyPr anchor="b">
            <a:normAutofit/>
          </a:bodyPr>
          <a:lstStyle>
            <a:lvl1pPr algn="l">
              <a:lnSpc>
                <a:spcPct val="80000"/>
              </a:lnSpc>
              <a:defRPr sz="6000" spc="0">
                <a:solidFill>
                  <a:schemeClr val="accent1"/>
                </a:solidFill>
              </a:defRPr>
            </a:lvl1pPr>
          </a:lstStyle>
          <a:p>
            <a:r>
              <a:rPr lang="fr-CA"/>
              <a:t>Titre de la sectio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3E48DC7-507A-40DD-AD95-27706BEEE1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7200" y="3933224"/>
            <a:ext cx="8951168" cy="503888"/>
          </a:xfrm>
        </p:spPr>
        <p:txBody>
          <a:bodyPr lIns="36000" rIns="36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CA"/>
              <a:t>Sous-titre de la section</a:t>
            </a:r>
          </a:p>
        </p:txBody>
      </p:sp>
      <p:pic>
        <p:nvPicPr>
          <p:cNvPr id="6" name="Image 6">
            <a:extLst>
              <a:ext uri="{FF2B5EF4-FFF2-40B4-BE49-F238E27FC236}">
                <a16:creationId xmlns:a16="http://schemas.microsoft.com/office/drawing/2014/main" id="{9F191416-4353-4222-B181-CB31A4A031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281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ANS image - Font BLE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79C36F1C-9FE2-463B-A000-36A4F8B115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68E80D-9335-46F6-9FDF-FDECDFF1D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35544-D370-40FF-9996-A300DE4ECAF0}" type="datetime1">
              <a:rPr lang="fr-CA" smtClean="0"/>
              <a:t>2024-11-14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A8FE17-C317-4959-BF34-0C19774A2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772816"/>
            <a:ext cx="8951168" cy="2160240"/>
          </a:xfrm>
        </p:spPr>
        <p:txBody>
          <a:bodyPr anchor="b">
            <a:normAutofit/>
          </a:bodyPr>
          <a:lstStyle>
            <a:lvl1pPr algn="l">
              <a:lnSpc>
                <a:spcPct val="80000"/>
              </a:lnSpc>
              <a:defRPr sz="6000" spc="0">
                <a:solidFill>
                  <a:schemeClr val="accent1"/>
                </a:solidFill>
              </a:defRPr>
            </a:lvl1pPr>
          </a:lstStyle>
          <a:p>
            <a:r>
              <a:rPr lang="fr-CA"/>
              <a:t>Titre de la sectio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3E48DC7-507A-40DD-AD95-27706BEEE1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7200" y="3933224"/>
            <a:ext cx="8951168" cy="503888"/>
          </a:xfrm>
        </p:spPr>
        <p:txBody>
          <a:bodyPr lIns="36000" rIns="36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CA"/>
              <a:t>Sous-titre de la section</a:t>
            </a:r>
          </a:p>
        </p:txBody>
      </p:sp>
      <p:pic>
        <p:nvPicPr>
          <p:cNvPr id="6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9FFAEC0F-73D4-4C27-8549-8829281823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04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fond VERT ave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11B488EB-A993-438B-9144-E06F4106C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02A8FE17-C317-4959-BF34-0C19774A2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700808"/>
            <a:ext cx="4414664" cy="2520280"/>
          </a:xfrm>
        </p:spPr>
        <p:txBody>
          <a:bodyPr anchor="b">
            <a:normAutofit/>
          </a:bodyPr>
          <a:lstStyle>
            <a:lvl1pPr algn="l">
              <a:lnSpc>
                <a:spcPct val="80000"/>
              </a:lnSpc>
              <a:defRPr sz="6000" spc="0" baseline="0">
                <a:solidFill>
                  <a:schemeClr val="accent1"/>
                </a:solidFill>
              </a:defRPr>
            </a:lvl1pPr>
          </a:lstStyle>
          <a:p>
            <a:r>
              <a:rPr lang="fr-CA"/>
              <a:t>Titre de la sectio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3E48DC7-507A-40DD-AD95-27706BEEE1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7200" y="4221088"/>
            <a:ext cx="4414664" cy="1512000"/>
          </a:xfrm>
        </p:spPr>
        <p:txBody>
          <a:bodyPr lIns="36000" rIns="36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CA"/>
              <a:t>Sous-titre de la section</a:t>
            </a:r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id="{AEFBF1C9-A151-4548-9030-ED5E222219E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31905" y="455613"/>
            <a:ext cx="6960096" cy="59435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68400" marR="0" lvl="0" indent="-684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 "/>
              <a:tabLst/>
              <a:defRPr/>
            </a:pPr>
            <a:r>
              <a:rPr lang="fr-CA"/>
              <a:t>Cliquez sur l’icône pour ajouter une image</a:t>
            </a:r>
          </a:p>
        </p:txBody>
      </p:sp>
      <p:sp>
        <p:nvSpPr>
          <p:cNvPr id="11" name="Espace réservé de la date 10">
            <a:extLst>
              <a:ext uri="{FF2B5EF4-FFF2-40B4-BE49-F238E27FC236}">
                <a16:creationId xmlns:a16="http://schemas.microsoft.com/office/drawing/2014/main" id="{29A7D786-8BF1-4888-A9A6-E0BFAD9AE3B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pic>
        <p:nvPicPr>
          <p:cNvPr id="7" name="Image 5">
            <a:extLst>
              <a:ext uri="{FF2B5EF4-FFF2-40B4-BE49-F238E27FC236}">
                <a16:creationId xmlns:a16="http://schemas.microsoft.com/office/drawing/2014/main" id="{136531B4-5824-4638-84BE-D0353B863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31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fond GRIS ave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E2EDD645-CC26-4C7C-BE83-E637D2DE42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02A8FE17-C317-4959-BF34-0C19774A2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700808"/>
            <a:ext cx="4414664" cy="2520280"/>
          </a:xfrm>
        </p:spPr>
        <p:txBody>
          <a:bodyPr anchor="b">
            <a:normAutofit/>
          </a:bodyPr>
          <a:lstStyle>
            <a:lvl1pPr algn="l">
              <a:lnSpc>
                <a:spcPct val="80000"/>
              </a:lnSpc>
              <a:defRPr sz="6000" spc="0" baseline="0">
                <a:solidFill>
                  <a:schemeClr val="accent1"/>
                </a:solidFill>
              </a:defRPr>
            </a:lvl1pPr>
          </a:lstStyle>
          <a:p>
            <a:r>
              <a:rPr lang="fr-CA"/>
              <a:t>Titre de la sectio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3E48DC7-507A-40DD-AD95-27706BEEE1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7200" y="4221088"/>
            <a:ext cx="4414664" cy="1512000"/>
          </a:xfrm>
        </p:spPr>
        <p:txBody>
          <a:bodyPr lIns="36000" rIns="36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CA"/>
              <a:t>Sous-titre de la section</a:t>
            </a:r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id="{AEFBF1C9-A151-4548-9030-ED5E222219E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31905" y="455613"/>
            <a:ext cx="6960096" cy="59435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68400" marR="0" lvl="0" indent="-684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 "/>
              <a:tabLst/>
              <a:defRPr/>
            </a:pPr>
            <a:r>
              <a:rPr lang="fr-CA"/>
              <a:t>Cliquez sur l’icône pour ajouter une image</a:t>
            </a:r>
          </a:p>
        </p:txBody>
      </p:sp>
      <p:sp>
        <p:nvSpPr>
          <p:cNvPr id="19" name="Espace réservé de la date 18">
            <a:extLst>
              <a:ext uri="{FF2B5EF4-FFF2-40B4-BE49-F238E27FC236}">
                <a16:creationId xmlns:a16="http://schemas.microsoft.com/office/drawing/2014/main" id="{B6EEAC80-48BE-4AF2-B2E3-02A9C66727B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pic>
        <p:nvPicPr>
          <p:cNvPr id="8" name="Image 6">
            <a:extLst>
              <a:ext uri="{FF2B5EF4-FFF2-40B4-BE49-F238E27FC236}">
                <a16:creationId xmlns:a16="http://schemas.microsoft.com/office/drawing/2014/main" id="{400DF773-D193-4B9D-9CF1-A75B956B26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60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fond BLEU ave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15A234B4-DF99-4991-81CD-16C1DC973A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68E80D-9335-46F6-9FDF-FDECDFF1D4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35544-D370-40FF-9996-A300DE4ECAF0}" type="datetime1">
              <a:rPr lang="fr-CA" smtClean="0"/>
              <a:t>2024-11-14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2A8FE17-C317-4959-BF34-0C19774A25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700808"/>
            <a:ext cx="4414664" cy="2520280"/>
          </a:xfrm>
        </p:spPr>
        <p:txBody>
          <a:bodyPr anchor="b">
            <a:normAutofit/>
          </a:bodyPr>
          <a:lstStyle>
            <a:lvl1pPr algn="l">
              <a:lnSpc>
                <a:spcPct val="80000"/>
              </a:lnSpc>
              <a:defRPr sz="6000" spc="0" baseline="0">
                <a:solidFill>
                  <a:schemeClr val="accent1"/>
                </a:solidFill>
              </a:defRPr>
            </a:lvl1pPr>
          </a:lstStyle>
          <a:p>
            <a:r>
              <a:rPr lang="fr-CA"/>
              <a:t>Titre de la sectio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3E48DC7-507A-40DD-AD95-27706BEEE1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7200" y="4221088"/>
            <a:ext cx="4414664" cy="1512000"/>
          </a:xfrm>
        </p:spPr>
        <p:txBody>
          <a:bodyPr lIns="36000" rIns="36000"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CA"/>
              <a:t>Sous-titre de la section</a:t>
            </a:r>
          </a:p>
        </p:txBody>
      </p:sp>
      <p:sp>
        <p:nvSpPr>
          <p:cNvPr id="9" name="Espace réservé pour une image  6">
            <a:extLst>
              <a:ext uri="{FF2B5EF4-FFF2-40B4-BE49-F238E27FC236}">
                <a16:creationId xmlns:a16="http://schemas.microsoft.com/office/drawing/2014/main" id="{AEFBF1C9-A151-4548-9030-ED5E222219E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31905" y="455613"/>
            <a:ext cx="6960096" cy="59435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68400" marR="0" lvl="0" indent="-684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 "/>
              <a:tabLst/>
              <a:defRPr/>
            </a:pPr>
            <a:r>
              <a:rPr lang="fr-CA"/>
              <a:t>Cliquez sur l’icône pour ajouter une image</a:t>
            </a:r>
          </a:p>
        </p:txBody>
      </p:sp>
      <p:pic>
        <p:nvPicPr>
          <p:cNvPr id="7" name="Image 5">
            <a:extLst>
              <a:ext uri="{FF2B5EF4-FFF2-40B4-BE49-F238E27FC236}">
                <a16:creationId xmlns:a16="http://schemas.microsoft.com/office/drawing/2014/main" id="{25171A77-0649-4DF9-BE07-99AB1D6FE1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61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positions de base flexibl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6EB5E8FF-5078-489E-B874-25D4FFBB4221}"/>
              </a:ext>
            </a:extLst>
          </p:cNvPr>
          <p:cNvSpPr txBox="1"/>
          <p:nvPr/>
        </p:nvSpPr>
        <p:spPr>
          <a:xfrm>
            <a:off x="479376" y="1905506"/>
            <a:ext cx="11233248" cy="30469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spcBef>
                <a:spcPts val="1400"/>
              </a:spcBef>
            </a:pPr>
            <a:r>
              <a:rPr lang="fr-CA" sz="9600" b="1">
                <a:solidFill>
                  <a:schemeClr val="bg1"/>
                </a:solidFill>
              </a:rPr>
              <a:t>Dispositions </a:t>
            </a:r>
            <a:br>
              <a:rPr lang="fr-CA" sz="9600" b="1">
                <a:solidFill>
                  <a:schemeClr val="bg1"/>
                </a:solidFill>
              </a:rPr>
            </a:br>
            <a:r>
              <a:rPr lang="fr-CA" sz="9600" b="1">
                <a:solidFill>
                  <a:schemeClr val="bg1"/>
                </a:solidFill>
              </a:rPr>
              <a:t>de base flexibles</a:t>
            </a:r>
          </a:p>
        </p:txBody>
      </p:sp>
    </p:spTree>
    <p:extLst>
      <p:ext uri="{BB962C8B-B14F-4D97-AF65-F5344CB8AC3E}">
        <p14:creationId xmlns:p14="http://schemas.microsoft.com/office/powerpoint/2010/main" val="1468028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olyval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C52E04-F319-43F3-8235-ADF1042F02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227E1A5-3C07-4E67-9BEF-8388EB7BCB76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  <a:lvl7pPr>
              <a:defRPr/>
            </a:lvl7pPr>
            <a:lvl9pPr>
              <a:defRPr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 pour une deuxième option de texte sans puce</a:t>
            </a:r>
          </a:p>
          <a:p>
            <a:pPr lvl="8"/>
            <a:r>
              <a:rPr lang="fr-CA"/>
              <a:t>Neuvième niveau identique au troisièm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6406D6D-B177-495A-9FD3-1C4B82B399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AA849EDA-80B2-4C83-9977-E4101F34D5A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15" name="Espace réservé du pied de page 14">
            <a:extLst>
              <a:ext uri="{FF2B5EF4-FFF2-40B4-BE49-F238E27FC236}">
                <a16:creationId xmlns:a16="http://schemas.microsoft.com/office/drawing/2014/main" id="{DE84A3AA-C396-487D-8E53-399F7AA2BBF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654AA222-0E56-43D6-ADB9-9485AB29BD3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E0104BE7-7BF4-47EC-B958-74FABD4C2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30605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A658288-9F26-0E46-8F23-D3AFF89B8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D19A505-CA5F-2B9B-49B4-B5A7D014BD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E8978F6-4DDE-EF5D-AA61-579FB2B6DC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8D1D53E-2FB1-9D9A-D618-0C6C91531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B494D31-1BBC-EE53-B052-4B8BBF19A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9724406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polyvalent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DC52E04-F319-43F3-8235-ADF1042F02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227E1A5-3C07-4E67-9BEF-8388EB7BCB7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1385" y="1484785"/>
            <a:ext cx="11089232" cy="4104456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  <a:lvl7pPr>
              <a:defRPr/>
            </a:lvl7pPr>
            <a:lvl9pPr>
              <a:defRPr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 pour une deuxième option de texte sans puce</a:t>
            </a:r>
          </a:p>
          <a:p>
            <a:pPr lvl="8"/>
            <a:r>
              <a:rPr lang="fr-CA"/>
              <a:t>Neuvième niveau identique au troisièm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81C797A-67DC-4FCC-9BD3-68E6ADF9E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BD20CA1-C3AF-4A71-B1D0-9D2B3A591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92026F6-62A1-40EE-BA2B-70B59B0A7C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1" name="Espace réservé du texte 8">
            <a:extLst>
              <a:ext uri="{FF2B5EF4-FFF2-40B4-BE49-F238E27FC236}">
                <a16:creationId xmlns:a16="http://schemas.microsoft.com/office/drawing/2014/main" id="{DF8AD9F0-97E7-4F55-B8FE-6169A312AA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3" name="Espace réservé du texte 15">
            <a:extLst>
              <a:ext uri="{FF2B5EF4-FFF2-40B4-BE49-F238E27FC236}">
                <a16:creationId xmlns:a16="http://schemas.microsoft.com/office/drawing/2014/main" id="{3E3F2CED-A9AC-42FE-939D-0B4D19E0A3E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819AEDD7-4685-4EAD-94EC-77E9E71C41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405929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2FAB282-F5F0-41B8-AC2A-AD2173D0F0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AF1BC8C-78CA-49AA-87D1-B10681B2B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638A7-28BE-4FAA-B3D1-EAF50C4DAF9D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5E54B11-7D7A-4E79-AEF6-377D4C347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DA22FCA-DBCF-4AB6-98D5-8152DEB1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7" name="Espace réservé du texte 8">
            <a:extLst>
              <a:ext uri="{FF2B5EF4-FFF2-40B4-BE49-F238E27FC236}">
                <a16:creationId xmlns:a16="http://schemas.microsoft.com/office/drawing/2014/main" id="{59651623-C41A-4364-B614-46BE3E2F70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8" name="Espace réservé du texte 13">
            <a:extLst>
              <a:ext uri="{FF2B5EF4-FFF2-40B4-BE49-F238E27FC236}">
                <a16:creationId xmlns:a16="http://schemas.microsoft.com/office/drawing/2014/main" id="{4DADC900-3C06-475D-97D6-1BB841C8C0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390744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ement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2FAB282-F5F0-41B8-AC2A-AD2173D0F0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AF1BC8C-78CA-49AA-87D1-B10681B2B0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638A7-28BE-4FAA-B3D1-EAF50C4DAF9D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5E54B11-7D7A-4E79-AEF6-377D4C347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DA22FCA-DBCF-4AB6-98D5-8152DEB1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8" name="Espace réservé du texte 8">
            <a:extLst>
              <a:ext uri="{FF2B5EF4-FFF2-40B4-BE49-F238E27FC236}">
                <a16:creationId xmlns:a16="http://schemas.microsoft.com/office/drawing/2014/main" id="{8E5B2D4E-E8B7-473D-B088-F871946BFF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0" name="Espace réservé du texte 15">
            <a:extLst>
              <a:ext uri="{FF2B5EF4-FFF2-40B4-BE49-F238E27FC236}">
                <a16:creationId xmlns:a16="http://schemas.microsoft.com/office/drawing/2014/main" id="{FF9C2556-4AEE-45E8-9983-D87A257617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  <p:sp>
        <p:nvSpPr>
          <p:cNvPr id="12" name="Espace réservé du texte 13">
            <a:extLst>
              <a:ext uri="{FF2B5EF4-FFF2-40B4-BE49-F238E27FC236}">
                <a16:creationId xmlns:a16="http://schemas.microsoft.com/office/drawing/2014/main" id="{67B5971E-BEF3-46FC-BD2D-7FAA168746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49751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blanche avec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4669194-15EA-4428-8CD2-F20901CDE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41057-29F4-4974-A067-5C2BF6442789}" type="datetime1">
              <a:rPr lang="fr-CA" smtClean="0"/>
              <a:t>2024-11-14</a:t>
            </a:fld>
            <a:endParaRPr lang="fr-CA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44365B8-62BF-4AF3-B40A-D679FF666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2090B53-65A7-4B23-8A92-6DBD101E8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6" name="Espace réservé du texte 8">
            <a:extLst>
              <a:ext uri="{FF2B5EF4-FFF2-40B4-BE49-F238E27FC236}">
                <a16:creationId xmlns:a16="http://schemas.microsoft.com/office/drawing/2014/main" id="{D449984A-E636-4B9D-A8A9-06E60445AA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7" name="Espace réservé du texte 13">
            <a:extLst>
              <a:ext uri="{FF2B5EF4-FFF2-40B4-BE49-F238E27FC236}">
                <a16:creationId xmlns:a16="http://schemas.microsoft.com/office/drawing/2014/main" id="{2331CB3A-750D-4401-BC9F-122F44B4BD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11771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e blan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4669194-15EA-4428-8CD2-F20901CDE5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41057-29F4-4974-A067-5C2BF6442789}" type="datetime1">
              <a:rPr lang="fr-CA" smtClean="0"/>
              <a:t>2024-11-14</a:t>
            </a:fld>
            <a:endParaRPr lang="fr-CA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44365B8-62BF-4AF3-B40A-D679FF666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2090B53-65A7-4B23-8A92-6DBD101E8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6" name="Espace réservé du texte 8">
            <a:extLst>
              <a:ext uri="{FF2B5EF4-FFF2-40B4-BE49-F238E27FC236}">
                <a16:creationId xmlns:a16="http://schemas.microsoft.com/office/drawing/2014/main" id="{D449984A-E636-4B9D-A8A9-06E60445AA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7" name="Espace réservé du texte 13">
            <a:extLst>
              <a:ext uri="{FF2B5EF4-FFF2-40B4-BE49-F238E27FC236}">
                <a16:creationId xmlns:a16="http://schemas.microsoft.com/office/drawing/2014/main" id="{2331CB3A-750D-4401-BC9F-122F44B4BD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24994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positions avec blocs verticau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6EB5E8FF-5078-489E-B874-25D4FFBB4221}"/>
              </a:ext>
            </a:extLst>
          </p:cNvPr>
          <p:cNvSpPr txBox="1"/>
          <p:nvPr/>
        </p:nvSpPr>
        <p:spPr>
          <a:xfrm>
            <a:off x="479376" y="1905506"/>
            <a:ext cx="11233248" cy="30469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spcBef>
                <a:spcPts val="1400"/>
              </a:spcBef>
            </a:pPr>
            <a:r>
              <a:rPr lang="fr-CA" sz="9600" b="1">
                <a:solidFill>
                  <a:schemeClr val="bg1"/>
                </a:solidFill>
              </a:rPr>
              <a:t>Dispositions avec blocs verticaux</a:t>
            </a:r>
          </a:p>
        </p:txBody>
      </p:sp>
    </p:spTree>
    <p:extLst>
      <p:ext uri="{BB962C8B-B14F-4D97-AF65-F5344CB8AC3E}">
        <p14:creationId xmlns:p14="http://schemas.microsoft.com/office/powerpoint/2010/main" val="357918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blocs vertic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A839AC7-EAF5-4C9E-993D-49E1663DD50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51384" y="1484784"/>
            <a:ext cx="5291991" cy="468052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2000"/>
            </a:lvl5pPr>
            <a:lvl6pPr>
              <a:defRPr sz="1800"/>
            </a:lvl6pPr>
            <a:lvl7pPr>
              <a:defRPr sz="2400"/>
            </a:lvl7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C3351F-1BEC-4C84-A807-8E415843504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46800" y="1484784"/>
            <a:ext cx="5291991" cy="468052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2000"/>
            </a:lvl5pPr>
            <a:lvl6pPr>
              <a:defRPr sz="1800"/>
            </a:lvl6pPr>
            <a:lvl7pPr>
              <a:defRPr sz="2400"/>
            </a:lvl7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9B41EC5-3B29-49C0-A3C3-F90EDF325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B54BA-9517-4CD0-B0D5-8C8FD91D8560}" type="datetime1">
              <a:rPr lang="fr-CA" smtClean="0"/>
              <a:t>2024-11-14</a:t>
            </a:fld>
            <a:endParaRPr lang="fr-C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782EA64-DB26-40C0-BF90-8172C46E2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24D4DAD-6F2E-4685-8609-223D963C3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A1217D0-319E-4D74-9AFF-1907AFE00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0" name="Espace réservé du texte 8">
            <a:extLst>
              <a:ext uri="{FF2B5EF4-FFF2-40B4-BE49-F238E27FC236}">
                <a16:creationId xmlns:a16="http://schemas.microsoft.com/office/drawing/2014/main" id="{5E5C3F5C-305A-4E0D-8C36-6489585FC2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A18B457C-0489-4EAD-B649-54288DD480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01118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blocs verticaux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A839AC7-EAF5-4C9E-993D-49E1663DD50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51384" y="1484784"/>
            <a:ext cx="5291991" cy="410445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2000"/>
            </a:lvl5pPr>
            <a:lvl6pPr>
              <a:defRPr sz="1800"/>
            </a:lvl6pPr>
            <a:lvl7pPr>
              <a:defRPr sz="2400"/>
            </a:lvl7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C3351F-1BEC-4C84-A807-8E415843504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46800" y="1484784"/>
            <a:ext cx="5291991" cy="410445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2000"/>
            </a:lvl5pPr>
            <a:lvl6pPr>
              <a:defRPr sz="1800"/>
            </a:lvl6pPr>
            <a:lvl7pPr>
              <a:defRPr sz="2400"/>
            </a:lvl7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9B41EC5-3B29-49C0-A3C3-F90EDF325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7B54BA-9517-4CD0-B0D5-8C8FD91D8560}" type="datetime1">
              <a:rPr lang="fr-CA" smtClean="0"/>
              <a:t>2024-11-14</a:t>
            </a:fld>
            <a:endParaRPr lang="fr-C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782EA64-DB26-40C0-BF90-8172C46E2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24D4DAD-6F2E-4685-8609-223D963C3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A1217D0-319E-4D74-9AFF-1907AFE00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AAB95E7E-1C11-4385-B022-009AF2F23B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6" name="Espace réservé du texte 13">
            <a:extLst>
              <a:ext uri="{FF2B5EF4-FFF2-40B4-BE49-F238E27FC236}">
                <a16:creationId xmlns:a16="http://schemas.microsoft.com/office/drawing/2014/main" id="{139EBDFD-5439-42D8-BAED-3409A95D7E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4" name="Espace réservé du texte 15">
            <a:extLst>
              <a:ext uri="{FF2B5EF4-FFF2-40B4-BE49-F238E27FC236}">
                <a16:creationId xmlns:a16="http://schemas.microsoft.com/office/drawing/2014/main" id="{60C2A766-F492-4138-89C9-AE91CFFCA7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</p:spTree>
    <p:extLst>
      <p:ext uri="{BB962C8B-B14F-4D97-AF65-F5344CB8AC3E}">
        <p14:creationId xmlns:p14="http://schemas.microsoft.com/office/powerpoint/2010/main" val="369830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locs verticaux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5291991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5681E0A-BAF4-4374-A6C2-E66581939F9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2276871"/>
            <a:ext cx="5291991" cy="3888433"/>
          </a:xfrm>
        </p:spPr>
        <p:txBody>
          <a:bodyPr lIns="75600" tIns="72000" rIns="75600" bIns="72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2000"/>
            </a:lvl7pPr>
            <a:lvl8pPr>
              <a:defRPr sz="1800"/>
            </a:lvl8pPr>
            <a:lvl9pPr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46800" y="1484784"/>
            <a:ext cx="5291991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811C11D-2FD8-4667-8F0A-787773D24C4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46800" y="2276871"/>
            <a:ext cx="5291991" cy="3888433"/>
          </a:xfrm>
        </p:spPr>
        <p:txBody>
          <a:bodyPr lIns="75600" tIns="72000" rIns="75600" bIns="72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2000"/>
            </a:lvl7pPr>
            <a:lvl8pPr>
              <a:defRPr sz="1800"/>
            </a:lvl8pPr>
            <a:lvl9pPr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EDA9E-7E87-483E-A08D-A232B885AEA9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C0F5224-27F9-40C2-A8DD-526F1F2CB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62632781-3424-4EBC-A987-19F7589939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9C19A335-46E5-471F-BAD6-5E89DC9AD2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314088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locs verticaux avec titre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5291991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46800" y="1484784"/>
            <a:ext cx="5291991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EDA9E-7E87-483E-A08D-A232B885AEA9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9BEA92E-7D4E-48F0-A35C-635DF9D79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E6345653-06EE-442F-95B5-96CE535FFD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6B106F8C-CBDD-4794-9C1C-DECF6302D3C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CA4937FC-40A1-4BAB-A46B-7D4C71BAB94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8691E68E-2E3D-42CF-A79A-9CE7951D0DD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2276872"/>
            <a:ext cx="5291991" cy="3312367"/>
          </a:xfrm>
        </p:spPr>
        <p:txBody>
          <a:bodyPr lIns="75600" tIns="72000" rIns="75600" bIns="72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2000"/>
            </a:lvl7pPr>
            <a:lvl8pPr>
              <a:defRPr sz="1800"/>
            </a:lvl8pPr>
            <a:lvl9pPr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5" name="Espace réservé du contenu 5">
            <a:extLst>
              <a:ext uri="{FF2B5EF4-FFF2-40B4-BE49-F238E27FC236}">
                <a16:creationId xmlns:a16="http://schemas.microsoft.com/office/drawing/2014/main" id="{4CFB31AC-FF7D-43E0-B0BB-BA55451F0B7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46800" y="2276872"/>
            <a:ext cx="5291991" cy="3312367"/>
          </a:xfrm>
        </p:spPr>
        <p:txBody>
          <a:bodyPr lIns="75600" tIns="72000" rIns="75600" bIns="72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2000"/>
            </a:lvl7pPr>
            <a:lvl8pPr>
              <a:defRPr sz="1800"/>
            </a:lvl8pPr>
            <a:lvl9pPr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85F9121F-8AC8-4F0C-AE89-3E684A1FF4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</p:spTree>
    <p:extLst>
      <p:ext uri="{BB962C8B-B14F-4D97-AF65-F5344CB8AC3E}">
        <p14:creationId xmlns:p14="http://schemas.microsoft.com/office/powerpoint/2010/main" val="159112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74E0BEB-F4D5-2651-DCC7-AF07FA840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CB79EBA-F1FB-B922-69FE-E3FB080842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4A36662F-E635-1210-D0F3-E2C09F6420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DBC5EBB-E6B4-7EF4-8B56-8B9B67E68C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4BEB485-6F54-01FD-461F-44D2EB700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3D72728-58CE-0787-908D-DA3EFB64A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0652953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locs verticaux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352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5681E0A-BAF4-4374-A6C2-E66581939F9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2276871"/>
            <a:ext cx="3528000" cy="3888433"/>
          </a:xfrm>
        </p:spPr>
        <p:txBody>
          <a:bodyPr lIns="75600" tIns="72000" rIns="75600" bIns="72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2000"/>
            </a:lvl7pPr>
            <a:lvl8pPr>
              <a:defRPr sz="1800"/>
            </a:lvl8pPr>
            <a:lvl9pPr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332000" y="1484784"/>
            <a:ext cx="352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811C11D-2FD8-4667-8F0A-787773D24C4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332000" y="2276871"/>
            <a:ext cx="3528000" cy="3888433"/>
          </a:xfrm>
        </p:spPr>
        <p:txBody>
          <a:bodyPr lIns="75600" tIns="72000" rIns="75600" bIns="72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2000"/>
            </a:lvl7pPr>
            <a:lvl8pPr>
              <a:defRPr sz="1800"/>
            </a:lvl8pPr>
            <a:lvl9pPr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EDA9E-7E87-483E-A08D-A232B885AEA9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C0F5224-27F9-40C2-A8DD-526F1F2CB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77C7C575-0C51-4F12-B244-19219E0ABE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2616" y="1484784"/>
            <a:ext cx="352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6" name="Espace réservé du contenu 5">
            <a:extLst>
              <a:ext uri="{FF2B5EF4-FFF2-40B4-BE49-F238E27FC236}">
                <a16:creationId xmlns:a16="http://schemas.microsoft.com/office/drawing/2014/main" id="{BC99F125-089A-40B1-9067-CFE956C0905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12616" y="2276871"/>
            <a:ext cx="3528000" cy="3888433"/>
          </a:xfrm>
        </p:spPr>
        <p:txBody>
          <a:bodyPr lIns="75600" tIns="72000" rIns="75600" bIns="72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2000"/>
            </a:lvl7pPr>
            <a:lvl8pPr>
              <a:defRPr sz="1800"/>
            </a:lvl8pPr>
            <a:lvl9pPr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A6B12415-7615-4B13-BC77-1E4AE2E0A2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F7F80DE8-A1A6-4EC6-81E6-08611185D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504349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locs verticaux avec titre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352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332000" y="1484784"/>
            <a:ext cx="352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EDA9E-7E87-483E-A08D-A232B885AEA9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C0F5224-27F9-40C2-A8DD-526F1F2CB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77C7C575-0C51-4F12-B244-19219E0ABE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12616" y="1484784"/>
            <a:ext cx="352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3FE237DC-4857-4AB1-8278-DF8530F3C4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21" name="Espace réservé du texte 13">
            <a:extLst>
              <a:ext uri="{FF2B5EF4-FFF2-40B4-BE49-F238E27FC236}">
                <a16:creationId xmlns:a16="http://schemas.microsoft.com/office/drawing/2014/main" id="{FD2F6A5D-A457-474C-96F5-35416D5B7D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7" name="Espace réservé du contenu 3">
            <a:extLst>
              <a:ext uri="{FF2B5EF4-FFF2-40B4-BE49-F238E27FC236}">
                <a16:creationId xmlns:a16="http://schemas.microsoft.com/office/drawing/2014/main" id="{7C19CCAF-BE7D-444A-8D81-63183F96B0E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2276872"/>
            <a:ext cx="3528000" cy="3312367"/>
          </a:xfrm>
        </p:spPr>
        <p:txBody>
          <a:bodyPr lIns="75600" tIns="72000" rIns="75600" bIns="72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2000"/>
            </a:lvl7pPr>
            <a:lvl8pPr>
              <a:defRPr sz="1800"/>
            </a:lvl8pPr>
            <a:lvl9pPr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6B3F0B48-89E7-4881-8688-407E637EB93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332000" y="2276872"/>
            <a:ext cx="3528000" cy="3312367"/>
          </a:xfrm>
        </p:spPr>
        <p:txBody>
          <a:bodyPr lIns="75600" tIns="72000" rIns="75600" bIns="72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2000"/>
            </a:lvl7pPr>
            <a:lvl8pPr>
              <a:defRPr sz="1800"/>
            </a:lvl8pPr>
            <a:lvl9pPr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2" name="Espace réservé du contenu 5">
            <a:extLst>
              <a:ext uri="{FF2B5EF4-FFF2-40B4-BE49-F238E27FC236}">
                <a16:creationId xmlns:a16="http://schemas.microsoft.com/office/drawing/2014/main" id="{B56884AC-1939-40B3-84FC-AAA22B62BB4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112616" y="2276872"/>
            <a:ext cx="3528000" cy="3312367"/>
          </a:xfrm>
        </p:spPr>
        <p:txBody>
          <a:bodyPr lIns="75600" tIns="72000" rIns="75600" bIns="72000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600"/>
            </a:lvl6pPr>
            <a:lvl7pPr>
              <a:defRPr sz="2000"/>
            </a:lvl7pPr>
            <a:lvl8pPr>
              <a:defRPr sz="1800"/>
            </a:lvl8pPr>
            <a:lvl9pPr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8C4E72A5-6AF6-46FA-811A-B4B92039D1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</p:spTree>
    <p:extLst>
      <p:ext uri="{BB962C8B-B14F-4D97-AF65-F5344CB8AC3E}">
        <p14:creationId xmlns:p14="http://schemas.microsoft.com/office/powerpoint/2010/main" val="603918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ocs verticaux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2592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5681E0A-BAF4-4374-A6C2-E66581939F9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2276871"/>
            <a:ext cx="2592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383795" y="1484784"/>
            <a:ext cx="2592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811C11D-2FD8-4667-8F0A-787773D24C4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3383795" y="2276871"/>
            <a:ext cx="2592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EDA9E-7E87-483E-A08D-A232B885AEA9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C0F5224-27F9-40C2-A8DD-526F1F2CB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77C7C575-0C51-4F12-B244-19219E0ABE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6206" y="1484784"/>
            <a:ext cx="2592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6" name="Espace réservé du contenu 5">
            <a:extLst>
              <a:ext uri="{FF2B5EF4-FFF2-40B4-BE49-F238E27FC236}">
                <a16:creationId xmlns:a16="http://schemas.microsoft.com/office/drawing/2014/main" id="{BC99F125-089A-40B1-9067-CFE956C0905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16206" y="2276871"/>
            <a:ext cx="2592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A6B12415-7615-4B13-BC77-1E4AE2E0A2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F7F80DE8-A1A6-4EC6-81E6-08611185D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779D8DAE-BBDD-430E-BCCB-6DA4688E56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48616" y="1484784"/>
            <a:ext cx="2592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B57A36C6-FD8D-420A-A7D3-5BB00DEDDCD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048616" y="2276871"/>
            <a:ext cx="2592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</p:spTree>
    <p:extLst>
      <p:ext uri="{BB962C8B-B14F-4D97-AF65-F5344CB8AC3E}">
        <p14:creationId xmlns:p14="http://schemas.microsoft.com/office/powerpoint/2010/main" val="54049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ocs verticaux avec titre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2592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383795" y="1484784"/>
            <a:ext cx="2592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EDA9E-7E87-483E-A08D-A232B885AEA9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C0F5224-27F9-40C2-A8DD-526F1F2CB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77C7C575-0C51-4F12-B244-19219E0ABE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6206" y="1484784"/>
            <a:ext cx="2592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A6B12415-7615-4B13-BC77-1E4AE2E0A2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F7F80DE8-A1A6-4EC6-81E6-08611185D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779D8DAE-BBDD-430E-BCCB-6DA4688E56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48616" y="1484784"/>
            <a:ext cx="2592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961F25B7-EB32-44AA-98BE-ED7973F850D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2276872"/>
            <a:ext cx="2592000" cy="3312368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2" name="Espace réservé du contenu 5">
            <a:extLst>
              <a:ext uri="{FF2B5EF4-FFF2-40B4-BE49-F238E27FC236}">
                <a16:creationId xmlns:a16="http://schemas.microsoft.com/office/drawing/2014/main" id="{B4DF4D10-F49E-4A68-A8F8-58DBE4F9941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3383795" y="2276872"/>
            <a:ext cx="2592000" cy="3312368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3" name="Espace réservé du contenu 5">
            <a:extLst>
              <a:ext uri="{FF2B5EF4-FFF2-40B4-BE49-F238E27FC236}">
                <a16:creationId xmlns:a16="http://schemas.microsoft.com/office/drawing/2014/main" id="{31DD1125-C187-4C97-8071-6694E85A1E0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16206" y="2276872"/>
            <a:ext cx="2592000" cy="3312368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4" name="Espace réservé du contenu 5">
            <a:extLst>
              <a:ext uri="{FF2B5EF4-FFF2-40B4-BE49-F238E27FC236}">
                <a16:creationId xmlns:a16="http://schemas.microsoft.com/office/drawing/2014/main" id="{383AADE0-4E0E-4EF0-9E3E-5FD02725E5DC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048616" y="2276872"/>
            <a:ext cx="2592000" cy="3312368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0" name="Espace réservé du texte 15">
            <a:extLst>
              <a:ext uri="{FF2B5EF4-FFF2-40B4-BE49-F238E27FC236}">
                <a16:creationId xmlns:a16="http://schemas.microsoft.com/office/drawing/2014/main" id="{9AC1F1BD-CA8A-4271-B35A-76E6C64724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</p:spTree>
    <p:extLst>
      <p:ext uri="{BB962C8B-B14F-4D97-AF65-F5344CB8AC3E}">
        <p14:creationId xmlns:p14="http://schemas.microsoft.com/office/powerpoint/2010/main" val="418718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blocs verticaux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208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5681E0A-BAF4-4374-A6C2-E66581939F9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2276871"/>
            <a:ext cx="2088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2801692" y="1484784"/>
            <a:ext cx="208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811C11D-2FD8-4667-8F0A-787773D24C4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2801692" y="2276871"/>
            <a:ext cx="2088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EDA9E-7E87-483E-A08D-A232B885AEA9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C0F5224-27F9-40C2-A8DD-526F1F2CB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77C7C575-0C51-4F12-B244-19219E0ABE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2000" y="1484784"/>
            <a:ext cx="208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6" name="Espace réservé du contenu 5">
            <a:extLst>
              <a:ext uri="{FF2B5EF4-FFF2-40B4-BE49-F238E27FC236}">
                <a16:creationId xmlns:a16="http://schemas.microsoft.com/office/drawing/2014/main" id="{BC99F125-089A-40B1-9067-CFE956C0905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052000" y="2276871"/>
            <a:ext cx="2088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A6B12415-7615-4B13-BC77-1E4AE2E0A2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F7F80DE8-A1A6-4EC6-81E6-08611185D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779D8DAE-BBDD-430E-BCCB-6DA4688E56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02308" y="1484784"/>
            <a:ext cx="208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B57A36C6-FD8D-420A-A7D3-5BB00DEDDCD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02308" y="2276871"/>
            <a:ext cx="2088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FED9427A-61B4-4B9F-AED1-1B914897CB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52616" y="1484784"/>
            <a:ext cx="208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21" name="Espace réservé du contenu 5">
            <a:extLst>
              <a:ext uri="{FF2B5EF4-FFF2-40B4-BE49-F238E27FC236}">
                <a16:creationId xmlns:a16="http://schemas.microsoft.com/office/drawing/2014/main" id="{373CA86C-472D-4071-AD81-41F898144542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552616" y="2276871"/>
            <a:ext cx="2088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</p:spTree>
    <p:extLst>
      <p:ext uri="{BB962C8B-B14F-4D97-AF65-F5344CB8AC3E}">
        <p14:creationId xmlns:p14="http://schemas.microsoft.com/office/powerpoint/2010/main" val="312542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blocs verticaux avec titre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208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2801692" y="1484784"/>
            <a:ext cx="208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EDA9E-7E87-483E-A08D-A232B885AEA9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2C0F5224-27F9-40C2-A8DD-526F1F2CBE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77C7C575-0C51-4F12-B244-19219E0ABE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52000" y="1484784"/>
            <a:ext cx="208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A6B12415-7615-4B13-BC77-1E4AE2E0A2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F7F80DE8-A1A6-4EC6-81E6-08611185D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779D8DAE-BBDD-430E-BCCB-6DA4688E56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02308" y="1484784"/>
            <a:ext cx="208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FED9427A-61B4-4B9F-AED1-1B914897CB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52616" y="1484784"/>
            <a:ext cx="2088000" cy="648000"/>
          </a:xfrm>
          <a:prstGeom prst="roundRect">
            <a:avLst>
              <a:gd name="adj" fmla="val 3714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F9034D46-953C-4810-B8FD-DC23BBEB859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2276871"/>
            <a:ext cx="2088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4" name="Espace réservé du contenu 5">
            <a:extLst>
              <a:ext uri="{FF2B5EF4-FFF2-40B4-BE49-F238E27FC236}">
                <a16:creationId xmlns:a16="http://schemas.microsoft.com/office/drawing/2014/main" id="{558E4980-EF2B-4881-B8F8-1B1E0473AED5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2801692" y="2276871"/>
            <a:ext cx="2088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5" name="Espace réservé du contenu 5">
            <a:extLst>
              <a:ext uri="{FF2B5EF4-FFF2-40B4-BE49-F238E27FC236}">
                <a16:creationId xmlns:a16="http://schemas.microsoft.com/office/drawing/2014/main" id="{C557361F-6BDF-4F3E-A2D9-DC38D3FE665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052000" y="2276871"/>
            <a:ext cx="2088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6" name="Espace réservé du contenu 5">
            <a:extLst>
              <a:ext uri="{FF2B5EF4-FFF2-40B4-BE49-F238E27FC236}">
                <a16:creationId xmlns:a16="http://schemas.microsoft.com/office/drawing/2014/main" id="{1B79817C-12CC-4979-8D87-F093DF5A283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302308" y="2276871"/>
            <a:ext cx="2088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7" name="Espace réservé du contenu 5">
            <a:extLst>
              <a:ext uri="{FF2B5EF4-FFF2-40B4-BE49-F238E27FC236}">
                <a16:creationId xmlns:a16="http://schemas.microsoft.com/office/drawing/2014/main" id="{11F9AA6A-7ED9-46BF-85F3-9BFB0EC65AD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552616" y="2276871"/>
            <a:ext cx="2088000" cy="3888433"/>
          </a:xfrm>
        </p:spPr>
        <p:txBody>
          <a:bodyPr lIns="75600" tIns="72000" rIns="75600" bIns="7200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600"/>
            </a:lvl5pPr>
            <a:lvl6pPr>
              <a:defRPr sz="1400"/>
            </a:lvl6pPr>
            <a:lvl7pPr>
              <a:defRPr sz="18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31B68BD3-2B36-4A85-B3CE-891991112F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</p:spTree>
    <p:extLst>
      <p:ext uri="{BB962C8B-B14F-4D97-AF65-F5344CB8AC3E}">
        <p14:creationId xmlns:p14="http://schemas.microsoft.com/office/powerpoint/2010/main" val="69645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positions avec blocs horizontau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6EB5E8FF-5078-489E-B874-25D4FFBB4221}"/>
              </a:ext>
            </a:extLst>
          </p:cNvPr>
          <p:cNvSpPr txBox="1"/>
          <p:nvPr/>
        </p:nvSpPr>
        <p:spPr>
          <a:xfrm>
            <a:off x="479376" y="1905506"/>
            <a:ext cx="11233248" cy="30469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spcBef>
                <a:spcPts val="1400"/>
              </a:spcBef>
            </a:pPr>
            <a:r>
              <a:rPr lang="fr-CA" sz="9600" b="1">
                <a:solidFill>
                  <a:schemeClr val="bg1"/>
                </a:solidFill>
              </a:rPr>
              <a:t>Dispositions avec blocs horizontaux</a:t>
            </a:r>
          </a:p>
        </p:txBody>
      </p:sp>
    </p:spTree>
    <p:extLst>
      <p:ext uri="{BB962C8B-B14F-4D97-AF65-F5344CB8AC3E}">
        <p14:creationId xmlns:p14="http://schemas.microsoft.com/office/powerpoint/2010/main" val="3111708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locs horizontau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A839AC7-EAF5-4C9E-993D-49E1663DD50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51385" y="1484784"/>
            <a:ext cx="11089232" cy="2232000"/>
          </a:xfrm>
        </p:spPr>
        <p:txBody>
          <a:bodyPr/>
          <a:lstStyle>
            <a:lvl1pPr>
              <a:spcBef>
                <a:spcPts val="800"/>
              </a:spcBef>
              <a:defRPr sz="2400"/>
            </a:lvl1pPr>
            <a:lvl2pPr>
              <a:spcBef>
                <a:spcPts val="400"/>
              </a:spcBef>
              <a:defRPr sz="2000"/>
            </a:lvl2pPr>
            <a:lvl3pPr>
              <a:spcBef>
                <a:spcPts val="200"/>
              </a:spcBef>
              <a:defRPr sz="1800"/>
            </a:lvl3pPr>
            <a:lvl4pPr>
              <a:spcBef>
                <a:spcPts val="100"/>
              </a:spcBef>
              <a:defRPr sz="1600"/>
            </a:lvl4pPr>
            <a:lvl5pPr>
              <a:spcBef>
                <a:spcPts val="800"/>
              </a:spcBef>
              <a:defRPr sz="2000"/>
            </a:lvl5pPr>
            <a:lvl6pPr>
              <a:spcBef>
                <a:spcPts val="200"/>
              </a:spcBef>
              <a:defRPr sz="1800"/>
            </a:lvl6pPr>
            <a:lvl7pPr>
              <a:spcBef>
                <a:spcPts val="1000"/>
              </a:spcBef>
              <a:defRPr sz="2400"/>
            </a:lvl7pPr>
            <a:lvl8pPr>
              <a:spcBef>
                <a:spcPts val="400"/>
              </a:spcBef>
              <a:defRPr/>
            </a:lvl8pPr>
            <a:lvl9pPr>
              <a:spcBef>
                <a:spcPts val="200"/>
              </a:spcBef>
              <a:defRPr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DC3351F-1BEC-4C84-A807-8E415843504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5" y="3932808"/>
            <a:ext cx="11089232" cy="2232248"/>
          </a:xfrm>
        </p:spPr>
        <p:txBody>
          <a:bodyPr/>
          <a:lstStyle>
            <a:lvl1pPr>
              <a:spcBef>
                <a:spcPts val="800"/>
              </a:spcBef>
              <a:defRPr sz="2400"/>
            </a:lvl1pPr>
            <a:lvl2pPr>
              <a:spcBef>
                <a:spcPts val="400"/>
              </a:spcBef>
              <a:defRPr sz="2000"/>
            </a:lvl2pPr>
            <a:lvl3pPr>
              <a:spcBef>
                <a:spcPts val="200"/>
              </a:spcBef>
              <a:defRPr sz="1800"/>
            </a:lvl3pPr>
            <a:lvl4pPr>
              <a:spcBef>
                <a:spcPts val="100"/>
              </a:spcBef>
              <a:defRPr sz="1600"/>
            </a:lvl4pPr>
            <a:lvl5pPr>
              <a:spcBef>
                <a:spcPts val="800"/>
              </a:spcBef>
              <a:defRPr sz="2000"/>
            </a:lvl5pPr>
            <a:lvl6pPr>
              <a:spcBef>
                <a:spcPts val="200"/>
              </a:spcBef>
              <a:defRPr sz="1800"/>
            </a:lvl6pPr>
            <a:lvl7pPr>
              <a:spcBef>
                <a:spcPts val="1000"/>
              </a:spcBef>
              <a:defRPr sz="2400"/>
            </a:lvl7pPr>
            <a:lvl8pPr>
              <a:spcBef>
                <a:spcPts val="400"/>
              </a:spcBef>
              <a:defRPr/>
            </a:lvl8pPr>
            <a:lvl9pPr>
              <a:spcBef>
                <a:spcPts val="200"/>
              </a:spcBef>
              <a:defRPr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9B41EC5-3B29-49C0-A3C3-F90EDF325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C39E9-99D6-456D-BAD5-5BEB592D4818}" type="datetime1">
              <a:rPr lang="fr-CA" smtClean="0"/>
              <a:t>2024-11-14</a:t>
            </a:fld>
            <a:endParaRPr lang="fr-C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782EA64-DB26-40C0-BF90-8172C46E2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24D4DAD-6F2E-4685-8609-223D963C3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927F075-93FA-445E-91A2-E7D873B5DA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1" name="Espace réservé du texte 8">
            <a:extLst>
              <a:ext uri="{FF2B5EF4-FFF2-40B4-BE49-F238E27FC236}">
                <a16:creationId xmlns:a16="http://schemas.microsoft.com/office/drawing/2014/main" id="{53991262-95D0-4824-9507-DF4F6391E0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2" name="Espace réservé du texte 13">
            <a:extLst>
              <a:ext uri="{FF2B5EF4-FFF2-40B4-BE49-F238E27FC236}">
                <a16:creationId xmlns:a16="http://schemas.microsoft.com/office/drawing/2014/main" id="{1F497488-F754-485B-A832-24A2BA27DA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650220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locs horizontaux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9B41EC5-3B29-49C0-A3C3-F90EDF325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C39E9-99D6-456D-BAD5-5BEB592D4818}" type="datetime1">
              <a:rPr lang="fr-CA" smtClean="0"/>
              <a:t>2024-11-14</a:t>
            </a:fld>
            <a:endParaRPr lang="fr-C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782EA64-DB26-40C0-BF90-8172C46E2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24D4DAD-6F2E-4685-8609-223D963C3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5927F075-93FA-445E-91A2-E7D873B5DA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9A098DB1-D480-4326-9C4F-AC9060DE3FBD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551385" y="1484784"/>
            <a:ext cx="11089231" cy="1944000"/>
          </a:xfrm>
        </p:spPr>
        <p:txBody>
          <a:bodyPr/>
          <a:lstStyle>
            <a:lvl1pPr>
              <a:spcBef>
                <a:spcPts val="800"/>
              </a:spcBef>
              <a:defRPr sz="2400"/>
            </a:lvl1pPr>
            <a:lvl2pPr>
              <a:spcBef>
                <a:spcPts val="400"/>
              </a:spcBef>
              <a:defRPr sz="2000"/>
            </a:lvl2pPr>
            <a:lvl3pPr>
              <a:spcBef>
                <a:spcPts val="200"/>
              </a:spcBef>
              <a:defRPr sz="1800"/>
            </a:lvl3pPr>
            <a:lvl4pPr>
              <a:spcBef>
                <a:spcPts val="100"/>
              </a:spcBef>
              <a:defRPr sz="1600"/>
            </a:lvl4pPr>
            <a:lvl5pPr>
              <a:spcBef>
                <a:spcPts val="800"/>
              </a:spcBef>
              <a:defRPr sz="2000"/>
            </a:lvl5pPr>
            <a:lvl6pPr>
              <a:spcBef>
                <a:spcPts val="200"/>
              </a:spcBef>
              <a:defRPr sz="1800"/>
            </a:lvl6pPr>
            <a:lvl7pPr>
              <a:spcBef>
                <a:spcPts val="1000"/>
              </a:spcBef>
              <a:defRPr sz="2400"/>
            </a:lvl7pPr>
            <a:lvl8pPr>
              <a:spcBef>
                <a:spcPts val="400"/>
              </a:spcBef>
              <a:defRPr/>
            </a:lvl8pPr>
            <a:lvl9pPr>
              <a:spcBef>
                <a:spcPts val="200"/>
              </a:spcBef>
              <a:defRPr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1E2ED851-05F6-48C9-9372-A3AD8C5D757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551385" y="3645024"/>
            <a:ext cx="11089231" cy="1944216"/>
          </a:xfrm>
        </p:spPr>
        <p:txBody>
          <a:bodyPr/>
          <a:lstStyle>
            <a:lvl1pPr>
              <a:spcBef>
                <a:spcPts val="800"/>
              </a:spcBef>
              <a:defRPr sz="2400"/>
            </a:lvl1pPr>
            <a:lvl2pPr>
              <a:spcBef>
                <a:spcPts val="400"/>
              </a:spcBef>
              <a:defRPr sz="2000"/>
            </a:lvl2pPr>
            <a:lvl3pPr>
              <a:spcBef>
                <a:spcPts val="200"/>
              </a:spcBef>
              <a:defRPr sz="1800"/>
            </a:lvl3pPr>
            <a:lvl4pPr>
              <a:spcBef>
                <a:spcPts val="100"/>
              </a:spcBef>
              <a:defRPr sz="1600"/>
            </a:lvl4pPr>
            <a:lvl5pPr>
              <a:spcBef>
                <a:spcPts val="800"/>
              </a:spcBef>
              <a:defRPr sz="2000"/>
            </a:lvl5pPr>
            <a:lvl6pPr>
              <a:spcBef>
                <a:spcPts val="200"/>
              </a:spcBef>
              <a:defRPr sz="1800"/>
            </a:lvl6pPr>
            <a:lvl7pPr>
              <a:spcBef>
                <a:spcPts val="1000"/>
              </a:spcBef>
              <a:defRPr sz="2400"/>
            </a:lvl7pPr>
            <a:lvl8pPr>
              <a:spcBef>
                <a:spcPts val="400"/>
              </a:spcBef>
              <a:defRPr/>
            </a:lvl8pPr>
            <a:lvl9pPr>
              <a:spcBef>
                <a:spcPts val="200"/>
              </a:spcBef>
              <a:defRPr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AB8BBF88-44A8-493B-B776-3E8B743525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CAD821F7-E486-44CB-8BA9-B7E54A4864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EE0D5529-D1B6-4BDF-BB8E-98D3624580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</p:spTree>
    <p:extLst>
      <p:ext uri="{BB962C8B-B14F-4D97-AF65-F5344CB8AC3E}">
        <p14:creationId xmlns:p14="http://schemas.microsoft.com/office/powerpoint/2010/main" val="400838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locs horizontaux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2160239" cy="2232000"/>
          </a:xfrm>
          <a:prstGeom prst="roundRect">
            <a:avLst>
              <a:gd name="adj" fmla="val 1391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51384" y="3933304"/>
            <a:ext cx="2160239" cy="2232000"/>
          </a:xfrm>
          <a:prstGeom prst="roundRect">
            <a:avLst>
              <a:gd name="adj" fmla="val 1391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CAD3C-6559-4036-9C4A-9BDB49AB210C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03128CD-B9EF-438B-BBE1-5CA0496A87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350430F6-705C-4985-A5C8-AB3D14C622B2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855639" y="1484784"/>
            <a:ext cx="8784977" cy="2232000"/>
          </a:xfrm>
          <a:prstGeom prst="roundRect">
            <a:avLst>
              <a:gd name="adj" fmla="val 1067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2000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200"/>
              </a:spcBef>
              <a:defRPr sz="1600"/>
            </a:lvl3pPr>
            <a:lvl4pPr>
              <a:spcBef>
                <a:spcPts val="100"/>
              </a:spcBef>
              <a:defRPr sz="1400"/>
            </a:lvl4pPr>
            <a:lvl5pPr>
              <a:spcBef>
                <a:spcPts val="800"/>
              </a:spcBef>
              <a:defRPr sz="1800"/>
            </a:lvl5pPr>
            <a:lvl6pPr>
              <a:spcBef>
                <a:spcPts val="200"/>
              </a:spcBef>
              <a:defRPr sz="1600"/>
            </a:lvl6pPr>
            <a:lvl7pPr>
              <a:spcBef>
                <a:spcPts val="1000"/>
              </a:spcBef>
              <a:defRPr sz="2000"/>
            </a:lvl7pPr>
            <a:lvl8pPr>
              <a:spcBef>
                <a:spcPts val="400"/>
              </a:spcBef>
              <a:defRPr sz="1800"/>
            </a:lvl8pPr>
            <a:lvl9pPr>
              <a:spcBef>
                <a:spcPts val="200"/>
              </a:spcBef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89F6F5A6-0E40-4D6A-BB0A-30C768F28A6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855639" y="3932808"/>
            <a:ext cx="8784977" cy="2232248"/>
          </a:xfrm>
          <a:prstGeom prst="roundRect">
            <a:avLst>
              <a:gd name="adj" fmla="val 1067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2000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200"/>
              </a:spcBef>
              <a:defRPr sz="1600"/>
            </a:lvl3pPr>
            <a:lvl4pPr>
              <a:spcBef>
                <a:spcPts val="100"/>
              </a:spcBef>
              <a:defRPr sz="1400"/>
            </a:lvl4pPr>
            <a:lvl5pPr>
              <a:spcBef>
                <a:spcPts val="800"/>
              </a:spcBef>
              <a:defRPr sz="1800"/>
            </a:lvl5pPr>
            <a:lvl6pPr>
              <a:spcBef>
                <a:spcPts val="200"/>
              </a:spcBef>
              <a:defRPr sz="1600"/>
            </a:lvl6pPr>
            <a:lvl7pPr>
              <a:spcBef>
                <a:spcPts val="1000"/>
              </a:spcBef>
              <a:defRPr sz="2000"/>
            </a:lvl7pPr>
            <a:lvl8pPr>
              <a:spcBef>
                <a:spcPts val="400"/>
              </a:spcBef>
              <a:defRPr sz="1800"/>
            </a:lvl8pPr>
            <a:lvl9pPr>
              <a:spcBef>
                <a:spcPts val="200"/>
              </a:spcBef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44ECAACE-88E5-432A-A479-65B4E4A68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F5921B1E-29FE-42BB-9C0F-DBA89C2109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347614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DF6119-828E-F491-0CFA-D2CBF198AF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0B8DD8B-990B-35D7-58A1-246423EC5A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9597F85C-9E49-4DBB-3243-D85E0A8A6C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85AA8EB6-C915-D2CC-9C8A-8563D508A3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0B53C471-C33B-1C4D-D0B9-EE11323D24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301C0097-E470-89D4-9ECE-59AB06F00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166AAE9A-4DDD-67B6-D185-055456DCD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0AD1E5F-135D-F79F-34AC-C87D5138BF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2812528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locs horizontaux avec titre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2160239" cy="1872000"/>
          </a:xfrm>
          <a:prstGeom prst="roundRect">
            <a:avLst>
              <a:gd name="adj" fmla="val 1597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51384" y="3573016"/>
            <a:ext cx="2160239" cy="1872000"/>
          </a:xfrm>
          <a:prstGeom prst="roundRect">
            <a:avLst>
              <a:gd name="adj" fmla="val 1597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CAD3C-6559-4036-9C4A-9BDB49AB210C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03128CD-B9EF-438B-BBE1-5CA0496A87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7430735F-BB45-4135-BA3C-F1117AB13B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20" name="Espace réservé du texte 13">
            <a:extLst>
              <a:ext uri="{FF2B5EF4-FFF2-40B4-BE49-F238E27FC236}">
                <a16:creationId xmlns:a16="http://schemas.microsoft.com/office/drawing/2014/main" id="{C5CEE339-B399-4283-82F8-8732B72D7B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C7205B7B-FE7F-4B27-A94B-DDB27CA7DA1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855639" y="1484784"/>
            <a:ext cx="8784977" cy="1872000"/>
          </a:xfrm>
          <a:prstGeom prst="roundRect">
            <a:avLst>
              <a:gd name="adj" fmla="val 1067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2000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200"/>
              </a:spcBef>
              <a:defRPr sz="1600"/>
            </a:lvl3pPr>
            <a:lvl4pPr>
              <a:spcBef>
                <a:spcPts val="100"/>
              </a:spcBef>
              <a:defRPr sz="1400"/>
            </a:lvl4pPr>
            <a:lvl5pPr>
              <a:spcBef>
                <a:spcPts val="800"/>
              </a:spcBef>
              <a:defRPr sz="1800"/>
            </a:lvl5pPr>
            <a:lvl6pPr>
              <a:spcBef>
                <a:spcPts val="200"/>
              </a:spcBef>
              <a:defRPr sz="1600"/>
            </a:lvl6pPr>
            <a:lvl7pPr>
              <a:spcBef>
                <a:spcPts val="1000"/>
              </a:spcBef>
              <a:defRPr sz="2000"/>
            </a:lvl7pPr>
            <a:lvl8pPr>
              <a:spcBef>
                <a:spcPts val="400"/>
              </a:spcBef>
              <a:defRPr sz="1800"/>
            </a:lvl8pPr>
            <a:lvl9pPr>
              <a:spcBef>
                <a:spcPts val="200"/>
              </a:spcBef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A3A08E13-B733-4E36-83F8-7DD96248436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855639" y="3573016"/>
            <a:ext cx="8784977" cy="1872000"/>
          </a:xfrm>
          <a:prstGeom prst="roundRect">
            <a:avLst>
              <a:gd name="adj" fmla="val 1067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2000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200"/>
              </a:spcBef>
              <a:defRPr sz="1600"/>
            </a:lvl3pPr>
            <a:lvl4pPr>
              <a:spcBef>
                <a:spcPts val="100"/>
              </a:spcBef>
              <a:defRPr sz="1400"/>
            </a:lvl4pPr>
            <a:lvl5pPr>
              <a:spcBef>
                <a:spcPts val="800"/>
              </a:spcBef>
              <a:defRPr sz="1800"/>
            </a:lvl5pPr>
            <a:lvl6pPr>
              <a:spcBef>
                <a:spcPts val="200"/>
              </a:spcBef>
              <a:defRPr sz="1600"/>
            </a:lvl6pPr>
            <a:lvl7pPr>
              <a:spcBef>
                <a:spcPts val="1000"/>
              </a:spcBef>
              <a:defRPr sz="2000"/>
            </a:lvl7pPr>
            <a:lvl8pPr>
              <a:spcBef>
                <a:spcPts val="400"/>
              </a:spcBef>
              <a:defRPr sz="1800"/>
            </a:lvl8pPr>
            <a:lvl9pPr>
              <a:spcBef>
                <a:spcPts val="200"/>
              </a:spcBef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324650A8-6E29-4B8D-810D-92F082570A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</p:spTree>
    <p:extLst>
      <p:ext uri="{BB962C8B-B14F-4D97-AF65-F5344CB8AC3E}">
        <p14:creationId xmlns:p14="http://schemas.microsoft.com/office/powerpoint/2010/main" val="3845504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locs horizontaux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2160239" cy="1440000"/>
          </a:xfrm>
          <a:prstGeom prst="roundRect">
            <a:avLst>
              <a:gd name="adj" fmla="val 2156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51384" y="3141128"/>
            <a:ext cx="2160239" cy="1440000"/>
          </a:xfrm>
          <a:prstGeom prst="roundRect">
            <a:avLst>
              <a:gd name="adj" fmla="val 2156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CAD3C-6559-4036-9C4A-9BDB49AB210C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03128CD-B9EF-438B-BBE1-5CA0496A87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5835A465-CFFA-4991-A2EA-72DC1A77B1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4797312"/>
            <a:ext cx="2160239" cy="1440000"/>
          </a:xfrm>
          <a:prstGeom prst="roundRect">
            <a:avLst>
              <a:gd name="adj" fmla="val 2156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3C292B81-F224-4DDD-A3C4-86594E361A10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855639" y="1484784"/>
            <a:ext cx="8784977" cy="1440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CC22BD7E-04AB-48F2-AA92-7C0F16D8709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2855639" y="3141128"/>
            <a:ext cx="8784977" cy="1440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0590C58-6D36-4980-9BBE-2B573F4FE24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855639" y="4797312"/>
            <a:ext cx="8784977" cy="1440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79CC53E8-31F3-4AE9-9ADD-0D0D16B293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20" name="Espace réservé du texte 13">
            <a:extLst>
              <a:ext uri="{FF2B5EF4-FFF2-40B4-BE49-F238E27FC236}">
                <a16:creationId xmlns:a16="http://schemas.microsoft.com/office/drawing/2014/main" id="{EB92AA7A-4BAA-43A6-92EA-1905A4CD2F6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87356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locs horizontaux avec titre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2160239" cy="1224000"/>
          </a:xfrm>
          <a:prstGeom prst="roundRect">
            <a:avLst>
              <a:gd name="adj" fmla="val 2396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51384" y="2852936"/>
            <a:ext cx="2160239" cy="1224000"/>
          </a:xfrm>
          <a:prstGeom prst="roundRect">
            <a:avLst>
              <a:gd name="adj" fmla="val 2396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CAD3C-6559-4036-9C4A-9BDB49AB210C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03128CD-B9EF-438B-BBE1-5CA0496A87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5835A465-CFFA-4991-A2EA-72DC1A77B1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4221088"/>
            <a:ext cx="2160239" cy="1224000"/>
          </a:xfrm>
          <a:prstGeom prst="roundRect">
            <a:avLst>
              <a:gd name="adj" fmla="val 2396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3046299C-0610-4302-BA1A-6CC41758B9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22" name="Espace réservé du texte 13">
            <a:extLst>
              <a:ext uri="{FF2B5EF4-FFF2-40B4-BE49-F238E27FC236}">
                <a16:creationId xmlns:a16="http://schemas.microsoft.com/office/drawing/2014/main" id="{416035A3-EDB3-4009-A45C-8C91DB4B73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8DF61F7D-B5DA-4F55-922C-90B6A0DBAC0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855639" y="1484784"/>
            <a:ext cx="8784977" cy="1224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3" name="Espace réservé du contenu 3">
            <a:extLst>
              <a:ext uri="{FF2B5EF4-FFF2-40B4-BE49-F238E27FC236}">
                <a16:creationId xmlns:a16="http://schemas.microsoft.com/office/drawing/2014/main" id="{1EECBF21-CB85-4DF3-ABFB-660CD86CDCCE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2855639" y="2852936"/>
            <a:ext cx="8784977" cy="1224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BEADB026-6D9F-4CEC-B94B-5FD514B0AB4D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855639" y="4221088"/>
            <a:ext cx="8784977" cy="1224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1" name="Espace réservé du texte 15">
            <a:extLst>
              <a:ext uri="{FF2B5EF4-FFF2-40B4-BE49-F238E27FC236}">
                <a16:creationId xmlns:a16="http://schemas.microsoft.com/office/drawing/2014/main" id="{7304A7B9-2322-4D97-9A65-608D574766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</p:spTree>
    <p:extLst>
      <p:ext uri="{BB962C8B-B14F-4D97-AF65-F5344CB8AC3E}">
        <p14:creationId xmlns:p14="http://schemas.microsoft.com/office/powerpoint/2010/main" val="2492125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ocs horizontaux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2160239" cy="1008000"/>
          </a:xfrm>
          <a:prstGeom prst="roundRect">
            <a:avLst>
              <a:gd name="adj" fmla="val 2733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51384" y="2708920"/>
            <a:ext cx="2160239" cy="1008000"/>
          </a:xfrm>
          <a:prstGeom prst="roundRect">
            <a:avLst>
              <a:gd name="adj" fmla="val 2733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CAD3C-6559-4036-9C4A-9BDB49AB210C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03128CD-B9EF-438B-BBE1-5CA0496A87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5835A465-CFFA-4991-A2EA-72DC1A77B1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3933056"/>
            <a:ext cx="2160239" cy="1008000"/>
          </a:xfrm>
          <a:prstGeom prst="roundRect">
            <a:avLst>
              <a:gd name="adj" fmla="val 2733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7" name="Espace réservé du contenu 2">
            <a:extLst>
              <a:ext uri="{FF2B5EF4-FFF2-40B4-BE49-F238E27FC236}">
                <a16:creationId xmlns:a16="http://schemas.microsoft.com/office/drawing/2014/main" id="{3C292B81-F224-4DDD-A3C4-86594E361A10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855639" y="1484784"/>
            <a:ext cx="8784977" cy="1008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79CC53E8-31F3-4AE9-9ADD-0D0D16B293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20" name="Espace réservé du texte 13">
            <a:extLst>
              <a:ext uri="{FF2B5EF4-FFF2-40B4-BE49-F238E27FC236}">
                <a16:creationId xmlns:a16="http://schemas.microsoft.com/office/drawing/2014/main" id="{EB92AA7A-4BAA-43A6-92EA-1905A4CD2F6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C5F4FBC3-A5F2-4F93-8B24-DE2A4E75F7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1384" y="5157192"/>
            <a:ext cx="2160239" cy="1008000"/>
          </a:xfrm>
          <a:prstGeom prst="roundRect">
            <a:avLst>
              <a:gd name="adj" fmla="val 2733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8" name="Espace réservé du contenu 3">
            <a:extLst>
              <a:ext uri="{FF2B5EF4-FFF2-40B4-BE49-F238E27FC236}">
                <a16:creationId xmlns:a16="http://schemas.microsoft.com/office/drawing/2014/main" id="{CC22BD7E-04AB-48F2-AA92-7C0F16D8709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2855639" y="2708920"/>
            <a:ext cx="8784977" cy="1008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50590C58-6D36-4980-9BBE-2B573F4FE24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855639" y="3933056"/>
            <a:ext cx="8784977" cy="1008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D2D12B4C-C892-43C1-93CE-EAB86B9CA534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2855639" y="5157192"/>
            <a:ext cx="8784977" cy="1008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</p:spTree>
    <p:extLst>
      <p:ext uri="{BB962C8B-B14F-4D97-AF65-F5344CB8AC3E}">
        <p14:creationId xmlns:p14="http://schemas.microsoft.com/office/powerpoint/2010/main" val="312304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ocs horizontaux avec titre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B731120-C761-4510-A666-83FBDA34A44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2160239" cy="936000"/>
          </a:xfrm>
          <a:prstGeom prst="roundRect">
            <a:avLst>
              <a:gd name="adj" fmla="val 2763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B165FA6-4D47-4E83-B2A8-A2B4EF1792E5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551384" y="2492896"/>
            <a:ext cx="2160239" cy="936000"/>
          </a:xfrm>
          <a:prstGeom prst="roundRect">
            <a:avLst>
              <a:gd name="adj" fmla="val 2763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C451F2D-2685-4DA0-A619-434B89FA1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3CAD3C-6559-4036-9C4A-9BDB49AB210C}" type="datetime1">
              <a:rPr lang="fr-CA" smtClean="0"/>
              <a:t>2024-11-14</a:t>
            </a:fld>
            <a:endParaRPr lang="fr-C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C7EAEE4F-CF95-4F18-A65B-588B7AAD9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1219BE7-12E2-4539-9D47-191491A87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03128CD-B9EF-438B-BBE1-5CA0496A87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5835A465-CFFA-4991-A2EA-72DC1A77B1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3501008"/>
            <a:ext cx="2160239" cy="936000"/>
          </a:xfrm>
          <a:prstGeom prst="roundRect">
            <a:avLst>
              <a:gd name="adj" fmla="val 2763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79CC53E8-31F3-4AE9-9ADD-0D0D16B293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20" name="Espace réservé du texte 13">
            <a:extLst>
              <a:ext uri="{FF2B5EF4-FFF2-40B4-BE49-F238E27FC236}">
                <a16:creationId xmlns:a16="http://schemas.microsoft.com/office/drawing/2014/main" id="{EB92AA7A-4BAA-43A6-92EA-1905A4CD2F6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C5F4FBC3-A5F2-4F93-8B24-DE2A4E75F7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1384" y="4509120"/>
            <a:ext cx="2160239" cy="936000"/>
          </a:xfrm>
          <a:prstGeom prst="roundRect">
            <a:avLst>
              <a:gd name="adj" fmla="val 2763"/>
            </a:avLst>
          </a:prstGeom>
          <a:solidFill>
            <a:schemeClr val="accent1"/>
          </a:solidFill>
        </p:spPr>
        <p:txBody>
          <a:bodyPr lIns="144000" tIns="72000" rIns="144000" bIns="72000" anchor="t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23" name="Espace réservé du contenu 2">
            <a:extLst>
              <a:ext uri="{FF2B5EF4-FFF2-40B4-BE49-F238E27FC236}">
                <a16:creationId xmlns:a16="http://schemas.microsoft.com/office/drawing/2014/main" id="{6C890E6B-5BA0-4BD7-A243-C26E785F7AF0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855639" y="1484784"/>
            <a:ext cx="8784977" cy="936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4" name="Espace réservé du contenu 3">
            <a:extLst>
              <a:ext uri="{FF2B5EF4-FFF2-40B4-BE49-F238E27FC236}">
                <a16:creationId xmlns:a16="http://schemas.microsoft.com/office/drawing/2014/main" id="{B9E9D864-CBAB-49ED-A387-3723926C8075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2855639" y="2492896"/>
            <a:ext cx="8784977" cy="936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5" name="Espace réservé du contenu 3">
            <a:extLst>
              <a:ext uri="{FF2B5EF4-FFF2-40B4-BE49-F238E27FC236}">
                <a16:creationId xmlns:a16="http://schemas.microsoft.com/office/drawing/2014/main" id="{C8F80301-8F84-4E19-8872-3A37A0B48629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855639" y="3501008"/>
            <a:ext cx="8784977" cy="936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6" name="Espace réservé du contenu 3">
            <a:extLst>
              <a:ext uri="{FF2B5EF4-FFF2-40B4-BE49-F238E27FC236}">
                <a16:creationId xmlns:a16="http://schemas.microsoft.com/office/drawing/2014/main" id="{8ABB2639-D8BF-4FE1-B738-878688E15AE4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>
          <a:xfrm>
            <a:off x="2855639" y="4509120"/>
            <a:ext cx="8784977" cy="936000"/>
          </a:xfrm>
          <a:prstGeom prst="roundRect">
            <a:avLst>
              <a:gd name="adj" fmla="val 1654"/>
            </a:avLst>
          </a:prstGeom>
          <a:solidFill>
            <a:schemeClr val="bg2"/>
          </a:solidFill>
        </p:spPr>
        <p:txBody>
          <a:bodyPr lIns="216000" tIns="72000" rIns="2160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2FFA92E-2AD1-4143-947F-18532E9F38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</p:spTree>
    <p:extLst>
      <p:ext uri="{BB962C8B-B14F-4D97-AF65-F5344CB8AC3E}">
        <p14:creationId xmlns:p14="http://schemas.microsoft.com/office/powerpoint/2010/main" val="380137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position avec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6EB5E8FF-5078-489E-B874-25D4FFBB4221}"/>
              </a:ext>
            </a:extLst>
          </p:cNvPr>
          <p:cNvSpPr txBox="1"/>
          <p:nvPr/>
        </p:nvSpPr>
        <p:spPr>
          <a:xfrm>
            <a:off x="479376" y="1905506"/>
            <a:ext cx="11233248" cy="30469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spcBef>
                <a:spcPts val="1400"/>
              </a:spcBef>
            </a:pPr>
            <a:r>
              <a:rPr lang="fr-CA" sz="9600" b="1">
                <a:solidFill>
                  <a:schemeClr val="bg1"/>
                </a:solidFill>
              </a:rPr>
              <a:t>Dispositions </a:t>
            </a:r>
            <a:br>
              <a:rPr lang="fr-CA" sz="9600" b="1">
                <a:solidFill>
                  <a:schemeClr val="bg1"/>
                </a:solidFill>
              </a:rPr>
            </a:br>
            <a:r>
              <a:rPr lang="fr-CA" sz="9600" b="1">
                <a:solidFill>
                  <a:schemeClr val="bg1"/>
                </a:solidFill>
              </a:rPr>
              <a:t>avec image</a:t>
            </a:r>
          </a:p>
        </p:txBody>
      </p:sp>
    </p:spTree>
    <p:extLst>
      <p:ext uri="{BB962C8B-B14F-4D97-AF65-F5344CB8AC3E}">
        <p14:creationId xmlns:p14="http://schemas.microsoft.com/office/powerpoint/2010/main" val="94108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9">
            <a:extLst>
              <a:ext uri="{FF2B5EF4-FFF2-40B4-BE49-F238E27FC236}">
                <a16:creationId xmlns:a16="http://schemas.microsoft.com/office/drawing/2014/main" id="{565A49BA-FAD8-4596-AD5D-A0280F13A40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81327"/>
          </a:xfrm>
          <a:noFill/>
        </p:spPr>
        <p:txBody>
          <a:bodyPr lIns="432000" tIns="0" rIns="432000" bIns="1188000" anchor="ctr"/>
          <a:lstStyle>
            <a:lvl1pPr marL="0" indent="0" algn="ctr">
              <a:buNone/>
              <a:defRPr/>
            </a:lvl1pPr>
          </a:lstStyle>
          <a:p>
            <a:r>
              <a:rPr lang="fr-CA"/>
              <a:t>Cliquez sur l’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69995709-A8C5-42E1-B0C0-D12287C58C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B5A18A9-696B-49BC-B076-453239CBF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522D43A-B036-4A92-BD22-EB96D41877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49CF89A-40C6-4BD0-9C49-D2B02B9A14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8" name="Espace réservé du texte 13">
            <a:extLst>
              <a:ext uri="{FF2B5EF4-FFF2-40B4-BE49-F238E27FC236}">
                <a16:creationId xmlns:a16="http://schemas.microsoft.com/office/drawing/2014/main" id="{8853DF79-B444-4966-A3AB-99949DDE2E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30382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avec image à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227E1A5-3C07-4E67-9BEF-8388EB7BCB7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1385" y="1484784"/>
            <a:ext cx="7488831" cy="4692179"/>
          </a:xfrm>
        </p:spPr>
        <p:txBody>
          <a:bodyPr/>
          <a:lstStyle>
            <a:lvl1pPr>
              <a:defRPr/>
            </a:lvl1pPr>
            <a:lvl5pPr>
              <a:defRPr/>
            </a:lvl5pPr>
            <a:lvl6pPr>
              <a:defRPr/>
            </a:lvl6pPr>
            <a:lvl7pPr>
              <a:defRPr/>
            </a:lvl7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 pour une deuxième option de texte sans puce</a:t>
            </a:r>
          </a:p>
          <a:p>
            <a:pPr lvl="8"/>
            <a:r>
              <a:rPr lang="fr-CA"/>
              <a:t>Neuvième niveau identique au troisièm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81C797A-67DC-4FCC-9BD3-68E6ADF9E4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CDFAB-B28F-4C63-B1FE-E1D7811873C4}" type="datetime1">
              <a:rPr lang="fr-CA" smtClean="0"/>
              <a:t>2024-11-14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BD20CA1-C3AF-4A71-B1D0-9D2B3A591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92026F6-62A1-40EE-BA2B-70B59B0A7C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‹N°›</a:t>
            </a:fld>
            <a:endParaRPr lang="fr-CA"/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7FAEBD51-3DE6-4844-B01A-7390096DB6C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6588" y="0"/>
            <a:ext cx="3935412" cy="6381327"/>
          </a:xfrm>
          <a:noFill/>
        </p:spPr>
        <p:txBody>
          <a:bodyPr lIns="432000" tIns="0" rIns="432000" bIns="1188000" anchor="ctr"/>
          <a:lstStyle>
            <a:lvl1pPr marL="0" indent="0" algn="ctr">
              <a:buNone/>
              <a:defRPr/>
            </a:lvl1pPr>
          </a:lstStyle>
          <a:p>
            <a:r>
              <a:rPr lang="fr-CA"/>
              <a:t>Cliquez sur l’icône pour ajouter une image</a:t>
            </a:r>
          </a:p>
        </p:txBody>
      </p:sp>
      <p:sp>
        <p:nvSpPr>
          <p:cNvPr id="9" name="Espace réservé du texte 13">
            <a:extLst>
              <a:ext uri="{FF2B5EF4-FFF2-40B4-BE49-F238E27FC236}">
                <a16:creationId xmlns:a16="http://schemas.microsoft.com/office/drawing/2014/main" id="{626BBD8A-E109-40FD-88EB-D05A75F622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DD3719F-0259-44F5-9874-5E9B04319C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5" y="403200"/>
            <a:ext cx="7488831" cy="1008000"/>
          </a:xfrm>
        </p:spPr>
        <p:txBody>
          <a:bodyPr/>
          <a:lstStyle/>
          <a:p>
            <a:r>
              <a:rPr lang="fr-CA"/>
              <a:t>Cliquez pour ajouter une manchette</a:t>
            </a:r>
          </a:p>
        </p:txBody>
      </p:sp>
    </p:spTree>
    <p:extLst>
      <p:ext uri="{BB962C8B-B14F-4D97-AF65-F5344CB8AC3E}">
        <p14:creationId xmlns:p14="http://schemas.microsoft.com/office/powerpoint/2010/main" val="4011970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à gauche  et image plein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9">
            <a:extLst>
              <a:ext uri="{FF2B5EF4-FFF2-40B4-BE49-F238E27FC236}">
                <a16:creationId xmlns:a16="http://schemas.microsoft.com/office/drawing/2014/main" id="{48E05FB4-B1A2-4C96-89D8-9E40288E5BB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381327"/>
          </a:xfrm>
          <a:noFill/>
        </p:spPr>
        <p:txBody>
          <a:bodyPr lIns="432000" tIns="36000" rIns="432000" bIns="1188000" anchor="t"/>
          <a:lstStyle>
            <a:lvl1pPr marL="0" indent="0" algn="l">
              <a:buNone/>
              <a:defRPr/>
            </a:lvl1pPr>
          </a:lstStyle>
          <a:p>
            <a:r>
              <a:rPr lang="fr-CA"/>
              <a:t>Cliquez sur l’icône pour ajouter une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DC52E04-F319-43F3-8235-ADF1042F02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5" y="479207"/>
            <a:ext cx="3384375" cy="5686095"/>
          </a:xfrm>
          <a:solidFill>
            <a:schemeClr val="accent1">
              <a:alpha val="90000"/>
            </a:schemeClr>
          </a:solidFill>
        </p:spPr>
        <p:txBody>
          <a:bodyPr lIns="252000" tIns="180000" rIns="252000" bIns="180000" anchor="t" anchorCtr="0"/>
          <a:lstStyle>
            <a:lvl1pPr>
              <a:lnSpc>
                <a:spcPct val="12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227E1A5-3C07-4E67-9BEF-8388EB7BCB7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35759" y="479208"/>
            <a:ext cx="7704857" cy="5686096"/>
          </a:xfrm>
          <a:solidFill>
            <a:schemeClr val="accent4">
              <a:lumMod val="20000"/>
              <a:lumOff val="80000"/>
              <a:alpha val="70000"/>
            </a:schemeClr>
          </a:solidFill>
        </p:spPr>
        <p:txBody>
          <a:bodyPr lIns="252000" tIns="180000" rIns="252000" bIns="180000"/>
          <a:lstStyle>
            <a:lvl1pPr>
              <a:defRPr/>
            </a:lvl1pPr>
            <a:lvl5pPr>
              <a:defRPr/>
            </a:lvl5pPr>
            <a:lvl7pPr>
              <a:defRPr/>
            </a:lvl7pPr>
            <a:lvl9pPr>
              <a:defRPr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 pour une deuxième option de texte sans puce</a:t>
            </a:r>
          </a:p>
          <a:p>
            <a:pPr lvl="8"/>
            <a:r>
              <a:rPr lang="fr-CA"/>
              <a:t>Neuvième niveau identique au troisième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AA849EDA-80B2-4C83-9977-E4101F34D5A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15" name="Espace réservé du pied de page 14">
            <a:extLst>
              <a:ext uri="{FF2B5EF4-FFF2-40B4-BE49-F238E27FC236}">
                <a16:creationId xmlns:a16="http://schemas.microsoft.com/office/drawing/2014/main" id="{DE84A3AA-C396-487D-8E53-399F7AA2BBF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654AA222-0E56-43D6-ADB9-9485AB29BD3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E0104BE7-7BF4-47EC-B958-74FABD4C2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874922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position de conclu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6EB5E8FF-5078-489E-B874-25D4FFBB4221}"/>
              </a:ext>
            </a:extLst>
          </p:cNvPr>
          <p:cNvSpPr txBox="1"/>
          <p:nvPr/>
        </p:nvSpPr>
        <p:spPr>
          <a:xfrm>
            <a:off x="479376" y="1905506"/>
            <a:ext cx="11233248" cy="30469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spcBef>
                <a:spcPts val="1400"/>
              </a:spcBef>
            </a:pPr>
            <a:r>
              <a:rPr lang="fr-CA" sz="9600" b="1">
                <a:solidFill>
                  <a:schemeClr val="bg1"/>
                </a:solidFill>
              </a:rPr>
              <a:t>Dispositions </a:t>
            </a:r>
            <a:br>
              <a:rPr lang="fr-CA" sz="9600" b="1">
                <a:solidFill>
                  <a:schemeClr val="bg1"/>
                </a:solidFill>
              </a:rPr>
            </a:br>
            <a:r>
              <a:rPr lang="fr-CA" sz="9600" b="1">
                <a:solidFill>
                  <a:schemeClr val="bg1"/>
                </a:solidFill>
              </a:rPr>
              <a:t>de conclusion</a:t>
            </a:r>
          </a:p>
        </p:txBody>
      </p:sp>
    </p:spTree>
    <p:extLst>
      <p:ext uri="{BB962C8B-B14F-4D97-AF65-F5344CB8AC3E}">
        <p14:creationId xmlns:p14="http://schemas.microsoft.com/office/powerpoint/2010/main" val="193947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CE49F0F-919F-5CF0-4760-F65135A0C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831B48C-3A79-D824-991F-735187DD8F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DC1A59C-413A-7CA2-A623-F04C4576C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254500C-E4EA-9D84-5010-B95BC9614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0806062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sion - 3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82B062AF-7680-4D0E-BD41-128C98B099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81FDB60-859C-43C1-AC1D-D1AA7B8FF3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20800"/>
            <a:ext cx="11089232" cy="1008000"/>
          </a:xfrm>
        </p:spPr>
        <p:txBody>
          <a:bodyPr>
            <a:noAutofit/>
          </a:bodyPr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fr-CA"/>
              <a:t>Ajoutez « Conclusion »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2926D4B-3606-4158-A1CE-A461B9549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895F29C-A38C-4D8C-B4B4-7CCBE4E56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FD1CCE5-106C-4BC5-BCB5-E9B6A806A0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CDC71EDC-8AA3-4770-A090-74E6704A61F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3321116"/>
            <a:ext cx="9743256" cy="1152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0" tIns="0" rIns="288000" bIns="0" anchor="ctr" anchorCtr="0"/>
          <a:lstStyle>
            <a:lvl1pPr marL="0" indent="0">
              <a:spcBef>
                <a:spcPts val="800"/>
              </a:spcBef>
              <a:buFontTx/>
              <a:buNone/>
              <a:defRPr sz="24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deuxième élément à retenir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60249BBC-BE5C-4E78-A966-69C75D790F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869288"/>
            <a:ext cx="9743256" cy="1152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0" tIns="0" rIns="288000" bIns="0" anchor="ctr" anchorCtr="0"/>
          <a:lstStyle>
            <a:lvl1pPr marL="0" indent="0">
              <a:spcBef>
                <a:spcPts val="800"/>
              </a:spcBef>
              <a:buFontTx/>
              <a:buNone/>
              <a:defRPr sz="24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troisième élément à retenir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D9B4DE77-4E10-463B-ACFF-12A93A3056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1772944"/>
            <a:ext cx="9743256" cy="1152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0" tIns="0" rIns="288000" bIns="0" anchor="ctr" anchorCtr="0"/>
          <a:lstStyle>
            <a:lvl1pPr marL="0" indent="0">
              <a:spcBef>
                <a:spcPts val="800"/>
              </a:spcBef>
              <a:buFontTx/>
              <a:buNone/>
              <a:defRPr sz="24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premier élément à retenir</a:t>
            </a:r>
          </a:p>
        </p:txBody>
      </p:sp>
      <p:sp>
        <p:nvSpPr>
          <p:cNvPr id="22" name="Espace réservé du texte 13">
            <a:extLst>
              <a:ext uri="{FF2B5EF4-FFF2-40B4-BE49-F238E27FC236}">
                <a16:creationId xmlns:a16="http://schemas.microsoft.com/office/drawing/2014/main" id="{BC7E941A-D064-4A5B-8BD3-DB646929B9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6AF17CAD-B0AC-4F26-9349-06F543B856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9B623FA9-128F-4E52-8BA7-1751EB00C60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57200" y="3321116"/>
            <a:ext cx="1152000" cy="1152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A4454DA7-144F-4078-AFC0-8BB8FED6CF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772944"/>
            <a:ext cx="1152000" cy="1152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960101CF-8B78-4B90-AA84-8CDB3DB3C6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869288"/>
            <a:ext cx="1152000" cy="1152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pic>
        <p:nvPicPr>
          <p:cNvPr id="21" name="Image 6">
            <a:extLst>
              <a:ext uri="{FF2B5EF4-FFF2-40B4-BE49-F238E27FC236}">
                <a16:creationId xmlns:a16="http://schemas.microsoft.com/office/drawing/2014/main" id="{75836433-524B-4AA3-B3C6-2645623CFE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3" name="Image 15">
            <a:extLst>
              <a:ext uri="{FF2B5EF4-FFF2-40B4-BE49-F238E27FC236}">
                <a16:creationId xmlns:a16="http://schemas.microsoft.com/office/drawing/2014/main" id="{3C3942FB-F4AD-4651-8B6E-A4C37D3E20B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953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sion - 4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>
            <a:extLst>
              <a:ext uri="{FF2B5EF4-FFF2-40B4-BE49-F238E27FC236}">
                <a16:creationId xmlns:a16="http://schemas.microsoft.com/office/drawing/2014/main" id="{2D5A566F-2590-42DA-8C8C-89F7A53F25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81FDB60-859C-43C1-AC1D-D1AA7B8FF3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20800"/>
            <a:ext cx="11089232" cy="1008000"/>
          </a:xfrm>
        </p:spPr>
        <p:txBody>
          <a:bodyPr>
            <a:noAutofit/>
          </a:bodyPr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fr-CA"/>
              <a:t>Ajoutez « Conclusion »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2926D4B-3606-4158-A1CE-A461B9549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895F29C-A38C-4D8C-B4B4-7CCBE4E56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FD1CCE5-106C-4BC5-BCB5-E9B6A806A0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CDC71EDC-8AA3-4770-A090-74E6704A61F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2900973"/>
            <a:ext cx="9743256" cy="864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0" rIns="288000" bIns="0" anchor="ctr" anchorCtr="0"/>
          <a:lstStyle>
            <a:lvl1pPr marL="0" indent="0">
              <a:spcBef>
                <a:spcPts val="800"/>
              </a:spcBef>
              <a:buFontTx/>
              <a:buNone/>
              <a:defRPr sz="24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deuxième élément à retenir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60249BBC-BE5C-4E78-A966-69C75D790F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029130"/>
            <a:ext cx="9743256" cy="864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0" rIns="288000" bIns="0" anchor="ctr" anchorCtr="0"/>
          <a:lstStyle>
            <a:lvl1pPr marL="0" indent="0">
              <a:spcBef>
                <a:spcPts val="800"/>
              </a:spcBef>
              <a:buFontTx/>
              <a:buNone/>
              <a:defRPr sz="24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troisième élément à retenir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6781A56D-5EBC-4124-8EC5-82C4291A3F1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200" y="5157288"/>
            <a:ext cx="9743256" cy="864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0" rIns="288000" bIns="0" anchor="ctr" anchorCtr="0"/>
          <a:lstStyle>
            <a:lvl1pPr marL="0" indent="0">
              <a:spcBef>
                <a:spcPts val="800"/>
              </a:spcBef>
              <a:buFontTx/>
              <a:buNone/>
              <a:defRPr sz="24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quatrième élément à retenir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D9B4DE77-4E10-463B-ACFF-12A93A3056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1772816"/>
            <a:ext cx="9743256" cy="864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0" rIns="288000" bIns="0" anchor="ctr" anchorCtr="0"/>
          <a:lstStyle>
            <a:lvl1pPr marL="0" indent="0">
              <a:spcBef>
                <a:spcPts val="800"/>
              </a:spcBef>
              <a:buFontTx/>
              <a:buNone/>
              <a:defRPr sz="24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premier élément à retenir</a:t>
            </a:r>
          </a:p>
        </p:txBody>
      </p:sp>
      <p:sp>
        <p:nvSpPr>
          <p:cNvPr id="22" name="Espace réservé du texte 13">
            <a:extLst>
              <a:ext uri="{FF2B5EF4-FFF2-40B4-BE49-F238E27FC236}">
                <a16:creationId xmlns:a16="http://schemas.microsoft.com/office/drawing/2014/main" id="{BC7E941A-D064-4A5B-8BD3-DB646929B9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F3FF22D0-3899-45E2-ACE3-1930A3181B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9B623FA9-128F-4E52-8BA7-1751EB00C60A}"/>
              </a:ext>
            </a:extLst>
          </p:cNvPr>
          <p:cNvSpPr>
            <a:spLocks noGrp="1" noChangeAspect="1"/>
          </p:cNvSpPr>
          <p:nvPr>
            <p:ph type="body" sz="quarter" idx="3" hasCustomPrompt="1"/>
          </p:nvPr>
        </p:nvSpPr>
        <p:spPr>
          <a:xfrm>
            <a:off x="457200" y="2900973"/>
            <a:ext cx="864000" cy="864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A4454DA7-144F-4078-AFC0-8BB8FED6CFCD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457200" y="1772816"/>
            <a:ext cx="864000" cy="864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960101CF-8B78-4B90-AA84-8CDB3DB3C6D8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57200" y="4029130"/>
            <a:ext cx="864000" cy="864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3F5A5FD0-7629-4E84-B3FD-74630AC4BE70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57200" y="5157288"/>
            <a:ext cx="864000" cy="864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pic>
        <p:nvPicPr>
          <p:cNvPr id="23" name="Image 23">
            <a:extLst>
              <a:ext uri="{FF2B5EF4-FFF2-40B4-BE49-F238E27FC236}">
                <a16:creationId xmlns:a16="http://schemas.microsoft.com/office/drawing/2014/main" id="{EE3409DA-C523-45E6-A6A2-69889FC567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6" name="Image 24">
            <a:extLst>
              <a:ext uri="{FF2B5EF4-FFF2-40B4-BE49-F238E27FC236}">
                <a16:creationId xmlns:a16="http://schemas.microsoft.com/office/drawing/2014/main" id="{ADE74CBE-27C7-4C8D-A5DF-5A8EA10992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851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sion - 5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 24">
            <a:extLst>
              <a:ext uri="{FF2B5EF4-FFF2-40B4-BE49-F238E27FC236}">
                <a16:creationId xmlns:a16="http://schemas.microsoft.com/office/drawing/2014/main" id="{42CFB279-27B2-4DFF-A561-7AE6C26080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81FDB60-859C-43C1-AC1D-D1AA7B8FF3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20800"/>
            <a:ext cx="11089232" cy="1008000"/>
          </a:xfrm>
        </p:spPr>
        <p:txBody>
          <a:bodyPr>
            <a:normAutofit/>
          </a:bodyPr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fr-CA"/>
              <a:t>Ajoutez « Conclusion »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2926D4B-3606-4158-A1CE-A461B95497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895F29C-A38C-4D8C-B4B4-7CCBE4E56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FD1CCE5-106C-4BC5-BCB5-E9B6A806A0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CDC71EDC-8AA3-4770-A090-74E6704A61F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2655054"/>
            <a:ext cx="9743256" cy="720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0" tIns="0" rIns="28800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2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deuxième élément à retenir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60249BBC-BE5C-4E78-A966-69C75D790F1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3537132"/>
            <a:ext cx="9743256" cy="720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0" tIns="0" rIns="28800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2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troisième élément à retenir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6781A56D-5EBC-4124-8EC5-82C4291A3F1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7200" y="4419210"/>
            <a:ext cx="9743256" cy="720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0" tIns="0" rIns="28800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2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quatrième élément à retenir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D9B4DE77-4E10-463B-ACFF-12A93A3056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7200" y="1772976"/>
            <a:ext cx="9743256" cy="720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0" tIns="0" rIns="28800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2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premier élément à retenir</a:t>
            </a:r>
          </a:p>
        </p:txBody>
      </p:sp>
      <p:sp>
        <p:nvSpPr>
          <p:cNvPr id="22" name="Espace réservé du texte 13">
            <a:extLst>
              <a:ext uri="{FF2B5EF4-FFF2-40B4-BE49-F238E27FC236}">
                <a16:creationId xmlns:a16="http://schemas.microsoft.com/office/drawing/2014/main" id="{BC7E941A-D064-4A5B-8BD3-DB646929B9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id="{997ECBDC-28E3-4653-9FBA-743D9E3435C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7200" y="5301288"/>
            <a:ext cx="9743256" cy="720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0" tIns="0" rIns="288000" bIns="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200" b="1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400"/>
              </a:spcBef>
              <a:defRPr sz="1800"/>
            </a:lvl3pPr>
          </a:lstStyle>
          <a:p>
            <a:pPr lvl="0"/>
            <a:r>
              <a:rPr lang="fr-CA"/>
              <a:t>Cliquez pour ajouter un cinquième élément à retenir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5E116717-4A85-4CB1-8599-9D4973924E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9B623FA9-128F-4E52-8BA7-1751EB00C60A}"/>
              </a:ext>
            </a:extLst>
          </p:cNvPr>
          <p:cNvSpPr>
            <a:spLocks noGrp="1" noChangeAspect="1"/>
          </p:cNvSpPr>
          <p:nvPr>
            <p:ph type="body" sz="quarter" idx="3" hasCustomPrompt="1"/>
          </p:nvPr>
        </p:nvSpPr>
        <p:spPr>
          <a:xfrm>
            <a:off x="457200" y="2655054"/>
            <a:ext cx="720000" cy="720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A4454DA7-144F-4078-AFC0-8BB8FED6CFCD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457200" y="1772976"/>
            <a:ext cx="720000" cy="720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960101CF-8B78-4B90-AA84-8CDB3DB3C6D8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57200" y="3537132"/>
            <a:ext cx="720000" cy="720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3F5A5FD0-7629-4E84-B3FD-74630AC4BE70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57200" y="4419210"/>
            <a:ext cx="720000" cy="720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0F6757D3-8365-41C7-A2A7-651ADDE0C978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457200" y="5301288"/>
            <a:ext cx="720000" cy="720000"/>
          </a:xfrm>
          <a:solidFill>
            <a:schemeClr val="accent1"/>
          </a:solidFill>
          <a:effectLst/>
        </p:spPr>
        <p:txBody>
          <a:bodyPr lIns="144000" tIns="72000" rIns="144000" bIns="7200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800" b="1" spc="-15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#.</a:t>
            </a:r>
          </a:p>
        </p:txBody>
      </p:sp>
      <p:pic>
        <p:nvPicPr>
          <p:cNvPr id="27" name="Image 24">
            <a:extLst>
              <a:ext uri="{FF2B5EF4-FFF2-40B4-BE49-F238E27FC236}">
                <a16:creationId xmlns:a16="http://schemas.microsoft.com/office/drawing/2014/main" id="{61D775D1-BE1E-4014-A3B4-C1761A5AB0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Image 25">
            <a:extLst>
              <a:ext uri="{FF2B5EF4-FFF2-40B4-BE49-F238E27FC236}">
                <a16:creationId xmlns:a16="http://schemas.microsoft.com/office/drawing/2014/main" id="{4CAC68AB-6E28-40FC-89B1-E40649DEC7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657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utres dispositi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6EB5E8FF-5078-489E-B874-25D4FFBB4221}"/>
              </a:ext>
            </a:extLst>
          </p:cNvPr>
          <p:cNvSpPr txBox="1"/>
          <p:nvPr/>
        </p:nvSpPr>
        <p:spPr>
          <a:xfrm>
            <a:off x="479376" y="2644170"/>
            <a:ext cx="11233248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spcBef>
                <a:spcPts val="1400"/>
              </a:spcBef>
            </a:pPr>
            <a:r>
              <a:rPr lang="fr-CA" sz="9600" b="1">
                <a:solidFill>
                  <a:schemeClr val="bg1"/>
                </a:solidFill>
              </a:rPr>
              <a:t>Autres dispositions</a:t>
            </a:r>
          </a:p>
        </p:txBody>
      </p:sp>
    </p:spTree>
    <p:extLst>
      <p:ext uri="{BB962C8B-B14F-4D97-AF65-F5344CB8AC3E}">
        <p14:creationId xmlns:p14="http://schemas.microsoft.com/office/powerpoint/2010/main" val="149236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8FF31FD-2DA9-4230-A670-271C45B891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0F5E14B-02FA-4092-800E-7EDD667C4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88639A2-6B22-458F-9B59-3CDA3E083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6236B4B-FF4C-45D7-ABF3-B2A46A3B6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7" name="Espace réservé du contenu 3">
            <a:extLst>
              <a:ext uri="{FF2B5EF4-FFF2-40B4-BE49-F238E27FC236}">
                <a16:creationId xmlns:a16="http://schemas.microsoft.com/office/drawing/2014/main" id="{EB5E6C9B-ADAA-46D3-ACF3-73FD0AFE24A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1484784"/>
            <a:ext cx="5291991" cy="2232064"/>
          </a:xfrm>
        </p:spPr>
        <p:txBody>
          <a:bodyPr lIns="75600" tIns="46800" rIns="75600" bIns="468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9" name="Espace réservé du contenu 5">
            <a:extLst>
              <a:ext uri="{FF2B5EF4-FFF2-40B4-BE49-F238E27FC236}">
                <a16:creationId xmlns:a16="http://schemas.microsoft.com/office/drawing/2014/main" id="{E8540FAE-4979-494C-8E8A-EF9FB8EEE4B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46800" y="1484784"/>
            <a:ext cx="5291991" cy="2232064"/>
          </a:xfrm>
        </p:spPr>
        <p:txBody>
          <a:bodyPr lIns="75600" tIns="46800" rIns="75600" bIns="468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494B1833-EEBB-4825-BA58-AEFE982EDD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5" name="Espace réservé du texte 13">
            <a:extLst>
              <a:ext uri="{FF2B5EF4-FFF2-40B4-BE49-F238E27FC236}">
                <a16:creationId xmlns:a16="http://schemas.microsoft.com/office/drawing/2014/main" id="{C670E7E5-F0BB-4FE0-9640-43DB6170EB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1" name="Espace réservé du contenu 3">
            <a:extLst>
              <a:ext uri="{FF2B5EF4-FFF2-40B4-BE49-F238E27FC236}">
                <a16:creationId xmlns:a16="http://schemas.microsoft.com/office/drawing/2014/main" id="{1BF25433-65DB-4072-AD5D-2557EAB88F72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51384" y="3933240"/>
            <a:ext cx="5291991" cy="2232064"/>
          </a:xfrm>
        </p:spPr>
        <p:txBody>
          <a:bodyPr lIns="75600" tIns="46800" rIns="75600" bIns="468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3" name="Espace réservé du contenu 5">
            <a:extLst>
              <a:ext uri="{FF2B5EF4-FFF2-40B4-BE49-F238E27FC236}">
                <a16:creationId xmlns:a16="http://schemas.microsoft.com/office/drawing/2014/main" id="{5C923789-0C90-4D34-A412-5E32C35B2C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46800" y="3933240"/>
            <a:ext cx="5291991" cy="2232064"/>
          </a:xfrm>
        </p:spPr>
        <p:txBody>
          <a:bodyPr lIns="75600" tIns="46800" rIns="75600" bIns="468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</p:spTree>
    <p:extLst>
      <p:ext uri="{BB962C8B-B14F-4D97-AF65-F5344CB8AC3E}">
        <p14:creationId xmlns:p14="http://schemas.microsoft.com/office/powerpoint/2010/main" val="25110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ocs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8FF31FD-2DA9-4230-A670-271C45B891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0F5E14B-02FA-4092-800E-7EDD667C4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88639A2-6B22-458F-9B59-3CDA3E083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6236B4B-FF4C-45D7-ABF3-B2A46A3B6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2" name="Espace réservé du contenu 3">
            <a:extLst>
              <a:ext uri="{FF2B5EF4-FFF2-40B4-BE49-F238E27FC236}">
                <a16:creationId xmlns:a16="http://schemas.microsoft.com/office/drawing/2014/main" id="{A47EF552-B17E-43F0-B836-D8C72809F9A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1484784"/>
            <a:ext cx="5291991" cy="1872000"/>
          </a:xfrm>
        </p:spPr>
        <p:txBody>
          <a:bodyPr lIns="75600" tIns="46800" rIns="75600" bIns="468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4" name="Espace réservé du contenu 5">
            <a:extLst>
              <a:ext uri="{FF2B5EF4-FFF2-40B4-BE49-F238E27FC236}">
                <a16:creationId xmlns:a16="http://schemas.microsoft.com/office/drawing/2014/main" id="{2802560E-6600-4E20-A5A1-8D1D8CA18071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46800" y="1484784"/>
            <a:ext cx="5291991" cy="1872000"/>
          </a:xfrm>
        </p:spPr>
        <p:txBody>
          <a:bodyPr lIns="75600" tIns="46800" rIns="75600" bIns="468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ADBB18DE-E4DD-47D7-A850-F0085F9568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8" name="Espace réservé du texte 13">
            <a:extLst>
              <a:ext uri="{FF2B5EF4-FFF2-40B4-BE49-F238E27FC236}">
                <a16:creationId xmlns:a16="http://schemas.microsoft.com/office/drawing/2014/main" id="{386B118F-C967-4C13-9826-4CB61D145B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C221FE28-9395-43E1-82BB-9CA57014E2A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51384" y="3573016"/>
            <a:ext cx="5291991" cy="1872000"/>
          </a:xfrm>
        </p:spPr>
        <p:txBody>
          <a:bodyPr lIns="75600" tIns="46800" rIns="75600" bIns="468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6" name="Espace réservé du contenu 5">
            <a:extLst>
              <a:ext uri="{FF2B5EF4-FFF2-40B4-BE49-F238E27FC236}">
                <a16:creationId xmlns:a16="http://schemas.microsoft.com/office/drawing/2014/main" id="{69348CFA-F206-4256-BE18-502B69CB15E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46800" y="3573016"/>
            <a:ext cx="5291991" cy="1872000"/>
          </a:xfrm>
        </p:spPr>
        <p:txBody>
          <a:bodyPr lIns="75600" tIns="46800" rIns="75600" bIns="468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0" name="Espace réservé du texte 15">
            <a:extLst>
              <a:ext uri="{FF2B5EF4-FFF2-40B4-BE49-F238E27FC236}">
                <a16:creationId xmlns:a16="http://schemas.microsoft.com/office/drawing/2014/main" id="{AC9DBEE9-5CAC-4408-8138-D3DE08A676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</p:spTree>
    <p:extLst>
      <p:ext uri="{BB962C8B-B14F-4D97-AF65-F5344CB8AC3E}">
        <p14:creationId xmlns:p14="http://schemas.microsoft.com/office/powerpoint/2010/main" val="410887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ocs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A3DB0C5D-8066-476B-9AA3-F7969EA1DC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2062368"/>
            <a:ext cx="5291991" cy="1654480"/>
          </a:xfrm>
        </p:spPr>
        <p:txBody>
          <a:bodyPr lIns="75600" tIns="72000" rIns="756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5" name="Espace réservé du contenu 5">
            <a:extLst>
              <a:ext uri="{FF2B5EF4-FFF2-40B4-BE49-F238E27FC236}">
                <a16:creationId xmlns:a16="http://schemas.microsoft.com/office/drawing/2014/main" id="{E3F74BC3-BE15-4C2B-8BAE-6332E349CC31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46800" y="2062368"/>
            <a:ext cx="5291991" cy="1654480"/>
          </a:xfrm>
        </p:spPr>
        <p:txBody>
          <a:bodyPr lIns="75600" tIns="72000" rIns="756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8FF31FD-2DA9-4230-A670-271C45B891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0F5E14B-02FA-4092-800E-7EDD667C4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88639A2-6B22-458F-9B59-3CDA3E083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6236B4B-FF4C-45D7-ABF3-B2A46A3B6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7720CD99-3C9A-4C79-9374-5A15E4B033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id="{6F16E076-B6B4-46FF-A2D0-00C3B0F1D9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6" name="Espace réservé du contenu 3">
            <a:extLst>
              <a:ext uri="{FF2B5EF4-FFF2-40B4-BE49-F238E27FC236}">
                <a16:creationId xmlns:a16="http://schemas.microsoft.com/office/drawing/2014/main" id="{D7AE9E12-6EDF-40A6-8033-AB60BD42BEBE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51384" y="4510824"/>
            <a:ext cx="5291991" cy="1654480"/>
          </a:xfrm>
        </p:spPr>
        <p:txBody>
          <a:bodyPr lIns="75600" tIns="72000" rIns="756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7" name="Espace réservé du contenu 5">
            <a:extLst>
              <a:ext uri="{FF2B5EF4-FFF2-40B4-BE49-F238E27FC236}">
                <a16:creationId xmlns:a16="http://schemas.microsoft.com/office/drawing/2014/main" id="{BF75D3EA-046E-4846-B705-85567C4676E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46800" y="4510824"/>
            <a:ext cx="5291991" cy="1654480"/>
          </a:xfrm>
        </p:spPr>
        <p:txBody>
          <a:bodyPr lIns="75600" tIns="72000" rIns="756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AA1229FE-B618-49E1-BBE3-36A49AD279A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5291991" cy="504000"/>
          </a:xfrm>
          <a:prstGeom prst="roundRect">
            <a:avLst>
              <a:gd name="adj" fmla="val 4456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C9AD677E-54B9-4148-9BF8-37FAF0C23F5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46800" y="1484784"/>
            <a:ext cx="5291991" cy="504000"/>
          </a:xfrm>
          <a:prstGeom prst="roundRect">
            <a:avLst>
              <a:gd name="adj" fmla="val 4456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391058F-5730-4D0F-B72D-3C584E1CA10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51384" y="3933240"/>
            <a:ext cx="5291991" cy="504000"/>
          </a:xfrm>
          <a:prstGeom prst="roundRect">
            <a:avLst>
              <a:gd name="adj" fmla="val 4456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ACB38B93-FBE5-4FAC-B612-144EA34C14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6800" y="3933240"/>
            <a:ext cx="5291991" cy="504000"/>
          </a:xfrm>
          <a:prstGeom prst="roundRect">
            <a:avLst>
              <a:gd name="adj" fmla="val 4456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</p:spTree>
    <p:extLst>
      <p:ext uri="{BB962C8B-B14F-4D97-AF65-F5344CB8AC3E}">
        <p14:creationId xmlns:p14="http://schemas.microsoft.com/office/powerpoint/2010/main" val="4228211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ocs avec titre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du contenu 3">
            <a:extLst>
              <a:ext uri="{FF2B5EF4-FFF2-40B4-BE49-F238E27FC236}">
                <a16:creationId xmlns:a16="http://schemas.microsoft.com/office/drawing/2014/main" id="{7F339FEA-B304-4A9F-A02F-2B603FA20DB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4" y="2062368"/>
            <a:ext cx="5291991" cy="1366632"/>
          </a:xfrm>
        </p:spPr>
        <p:txBody>
          <a:bodyPr lIns="75600" tIns="72000" rIns="756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0" name="Espace réservé du contenu 5">
            <a:extLst>
              <a:ext uri="{FF2B5EF4-FFF2-40B4-BE49-F238E27FC236}">
                <a16:creationId xmlns:a16="http://schemas.microsoft.com/office/drawing/2014/main" id="{6AEE59EE-9AE8-4626-96CE-160C8B0D0A84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46800" y="2062368"/>
            <a:ext cx="5291991" cy="1366632"/>
          </a:xfrm>
        </p:spPr>
        <p:txBody>
          <a:bodyPr lIns="75600" tIns="72000" rIns="756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8FF31FD-2DA9-4230-A670-271C45B891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0F5E14B-02FA-4092-800E-7EDD667C4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88639A2-6B22-458F-9B59-3CDA3E083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6236B4B-FF4C-45D7-ABF3-B2A46A3B6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id="{E258F119-F276-4D74-BB31-E55CB37E85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24" name="Espace réservé du texte 13">
            <a:extLst>
              <a:ext uri="{FF2B5EF4-FFF2-40B4-BE49-F238E27FC236}">
                <a16:creationId xmlns:a16="http://schemas.microsoft.com/office/drawing/2014/main" id="{3F948944-7C72-4808-9DC6-FEE56F9B20C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24DBEC75-5540-4DF9-BFC8-25F830D74ED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51384" y="4149080"/>
            <a:ext cx="5291991" cy="1366632"/>
          </a:xfrm>
        </p:spPr>
        <p:txBody>
          <a:bodyPr lIns="75600" tIns="72000" rIns="756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2" name="Espace réservé du contenu 5">
            <a:extLst>
              <a:ext uri="{FF2B5EF4-FFF2-40B4-BE49-F238E27FC236}">
                <a16:creationId xmlns:a16="http://schemas.microsoft.com/office/drawing/2014/main" id="{E3BFD3E5-377C-40F5-8932-807F2FE2D67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46800" y="4149080"/>
            <a:ext cx="5291991" cy="1366632"/>
          </a:xfrm>
        </p:spPr>
        <p:txBody>
          <a:bodyPr lIns="75600" tIns="72000" rIns="75600" bIns="72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4" name="Espace réservé du texte 15">
            <a:extLst>
              <a:ext uri="{FF2B5EF4-FFF2-40B4-BE49-F238E27FC236}">
                <a16:creationId xmlns:a16="http://schemas.microsoft.com/office/drawing/2014/main" id="{A42DE23F-C68B-4EA0-84FF-59C5FEC320B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AA1229FE-B618-49E1-BBE3-36A49AD279A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4" y="1484784"/>
            <a:ext cx="5291991" cy="504000"/>
          </a:xfrm>
          <a:prstGeom prst="roundRect">
            <a:avLst>
              <a:gd name="adj" fmla="val 4456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C9AD677E-54B9-4148-9BF8-37FAF0C23F5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46800" y="1484784"/>
            <a:ext cx="5291991" cy="504000"/>
          </a:xfrm>
          <a:prstGeom prst="roundRect">
            <a:avLst>
              <a:gd name="adj" fmla="val 4456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391058F-5730-4D0F-B72D-3C584E1CA10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51384" y="3573016"/>
            <a:ext cx="5291991" cy="504000"/>
          </a:xfrm>
          <a:prstGeom prst="roundRect">
            <a:avLst>
              <a:gd name="adj" fmla="val 4456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ACB38B93-FBE5-4FAC-B612-144EA34C14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6800" y="3573016"/>
            <a:ext cx="5291991" cy="504000"/>
          </a:xfrm>
          <a:prstGeom prst="roundRect">
            <a:avLst>
              <a:gd name="adj" fmla="val 4456"/>
            </a:avLst>
          </a:prstGeom>
          <a:solidFill>
            <a:schemeClr val="accent1"/>
          </a:solidFill>
        </p:spPr>
        <p:txBody>
          <a:bodyPr lIns="144000" tIns="36000" rIns="144000" bIns="3600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</p:spTree>
    <p:extLst>
      <p:ext uri="{BB962C8B-B14F-4D97-AF65-F5344CB8AC3E}">
        <p14:creationId xmlns:p14="http://schemas.microsoft.com/office/powerpoint/2010/main" val="3451393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ocs avec titre à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A3DB0C5D-8066-476B-9AA3-F7969EA1DC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207568" y="1484784"/>
            <a:ext cx="3635807" cy="2232064"/>
          </a:xfrm>
        </p:spPr>
        <p:txBody>
          <a:bodyPr lIns="75600" tIns="108000" rIns="75600" bIns="108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5" name="Espace réservé du contenu 5">
            <a:extLst>
              <a:ext uri="{FF2B5EF4-FFF2-40B4-BE49-F238E27FC236}">
                <a16:creationId xmlns:a16="http://schemas.microsoft.com/office/drawing/2014/main" id="{E3F74BC3-BE15-4C2B-8BAE-6332E349CC31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8002984" y="1484784"/>
            <a:ext cx="3635807" cy="2232064"/>
          </a:xfrm>
        </p:spPr>
        <p:txBody>
          <a:bodyPr lIns="75600" tIns="108000" rIns="75600" bIns="108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8FF31FD-2DA9-4230-A670-271C45B891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0F5E14B-02FA-4092-800E-7EDD667C4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88639A2-6B22-458F-9B59-3CDA3E083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6236B4B-FF4C-45D7-ABF3-B2A46A3B6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7720CD99-3C9A-4C79-9374-5A15E4B033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id="{6F16E076-B6B4-46FF-A2D0-00C3B0F1D9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6" name="Espace réservé du contenu 3">
            <a:extLst>
              <a:ext uri="{FF2B5EF4-FFF2-40B4-BE49-F238E27FC236}">
                <a16:creationId xmlns:a16="http://schemas.microsoft.com/office/drawing/2014/main" id="{D7AE9E12-6EDF-40A6-8033-AB60BD42BEBE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207568" y="3933240"/>
            <a:ext cx="3635807" cy="2232064"/>
          </a:xfrm>
        </p:spPr>
        <p:txBody>
          <a:bodyPr lIns="75600" tIns="108000" rIns="75600" bIns="108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7" name="Espace réservé du contenu 5">
            <a:extLst>
              <a:ext uri="{FF2B5EF4-FFF2-40B4-BE49-F238E27FC236}">
                <a16:creationId xmlns:a16="http://schemas.microsoft.com/office/drawing/2014/main" id="{BF75D3EA-046E-4846-B705-85567C4676E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002984" y="3933240"/>
            <a:ext cx="3635807" cy="2232064"/>
          </a:xfrm>
        </p:spPr>
        <p:txBody>
          <a:bodyPr lIns="75600" tIns="108000" rIns="75600" bIns="108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AA1229FE-B618-49E1-BBE3-36A49AD279A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5" y="1484784"/>
            <a:ext cx="1512167" cy="2232064"/>
          </a:xfrm>
          <a:prstGeom prst="roundRect">
            <a:avLst>
              <a:gd name="adj" fmla="val 1742"/>
            </a:avLst>
          </a:prstGeom>
          <a:solidFill>
            <a:schemeClr val="accent1"/>
          </a:solidFill>
        </p:spPr>
        <p:txBody>
          <a:bodyPr lIns="144000" tIns="108000" rIns="144000" bIns="108000" anchor="t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C9AD677E-54B9-4148-9BF8-37FAF0C23F5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46801" y="1484784"/>
            <a:ext cx="1512167" cy="2232064"/>
          </a:xfrm>
          <a:prstGeom prst="roundRect">
            <a:avLst>
              <a:gd name="adj" fmla="val 1742"/>
            </a:avLst>
          </a:prstGeom>
          <a:solidFill>
            <a:schemeClr val="accent1"/>
          </a:solidFill>
        </p:spPr>
        <p:txBody>
          <a:bodyPr lIns="144000" tIns="108000" rIns="144000" bIns="108000" anchor="t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391058F-5730-4D0F-B72D-3C584E1CA10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51385" y="3933240"/>
            <a:ext cx="1512167" cy="2232064"/>
          </a:xfrm>
          <a:prstGeom prst="roundRect">
            <a:avLst>
              <a:gd name="adj" fmla="val 1742"/>
            </a:avLst>
          </a:prstGeom>
          <a:solidFill>
            <a:schemeClr val="accent1"/>
          </a:solidFill>
        </p:spPr>
        <p:txBody>
          <a:bodyPr lIns="144000" tIns="108000" rIns="144000" bIns="108000" anchor="t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ACB38B93-FBE5-4FAC-B612-144EA34C14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6801" y="3933240"/>
            <a:ext cx="1512167" cy="2232064"/>
          </a:xfrm>
          <a:prstGeom prst="roundRect">
            <a:avLst>
              <a:gd name="adj" fmla="val 1742"/>
            </a:avLst>
          </a:prstGeom>
          <a:solidFill>
            <a:schemeClr val="accent1"/>
          </a:solidFill>
        </p:spPr>
        <p:txBody>
          <a:bodyPr lIns="144000" tIns="108000" rIns="144000" bIns="108000" anchor="t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</p:spTree>
    <p:extLst>
      <p:ext uri="{BB962C8B-B14F-4D97-AF65-F5344CB8AC3E}">
        <p14:creationId xmlns:p14="http://schemas.microsoft.com/office/powerpoint/2010/main" val="296131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ocs avec titre à gauche + b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A3DB0C5D-8066-476B-9AA3-F7969EA1DC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207568" y="1484784"/>
            <a:ext cx="3635807" cy="1944000"/>
          </a:xfrm>
        </p:spPr>
        <p:txBody>
          <a:bodyPr lIns="75600" tIns="108000" rIns="75600" bIns="108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5" name="Espace réservé du contenu 5">
            <a:extLst>
              <a:ext uri="{FF2B5EF4-FFF2-40B4-BE49-F238E27FC236}">
                <a16:creationId xmlns:a16="http://schemas.microsoft.com/office/drawing/2014/main" id="{E3F74BC3-BE15-4C2B-8BAE-6332E349CC31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8002984" y="1484784"/>
            <a:ext cx="3635807" cy="1944000"/>
          </a:xfrm>
        </p:spPr>
        <p:txBody>
          <a:bodyPr lIns="75600" tIns="108000" rIns="75600" bIns="108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A8FF31FD-2DA9-4230-A670-271C45B891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0F5E14B-02FA-4092-800E-7EDD667C4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88639A2-6B22-458F-9B59-3CDA3E083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6236B4B-FF4C-45D7-ABF3-B2A46A3B6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7720CD99-3C9A-4C79-9374-5A15E4B033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9" name="Espace réservé du texte 13">
            <a:extLst>
              <a:ext uri="{FF2B5EF4-FFF2-40B4-BE49-F238E27FC236}">
                <a16:creationId xmlns:a16="http://schemas.microsoft.com/office/drawing/2014/main" id="{6F16E076-B6B4-46FF-A2D0-00C3B0F1D9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6" name="Espace réservé du contenu 3">
            <a:extLst>
              <a:ext uri="{FF2B5EF4-FFF2-40B4-BE49-F238E27FC236}">
                <a16:creationId xmlns:a16="http://schemas.microsoft.com/office/drawing/2014/main" id="{D7AE9E12-6EDF-40A6-8033-AB60BD42BEBE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207568" y="3573016"/>
            <a:ext cx="3635807" cy="1944000"/>
          </a:xfrm>
        </p:spPr>
        <p:txBody>
          <a:bodyPr lIns="75600" tIns="108000" rIns="75600" bIns="108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7" name="Espace réservé du contenu 5">
            <a:extLst>
              <a:ext uri="{FF2B5EF4-FFF2-40B4-BE49-F238E27FC236}">
                <a16:creationId xmlns:a16="http://schemas.microsoft.com/office/drawing/2014/main" id="{BF75D3EA-046E-4846-B705-85567C4676E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002984" y="3573016"/>
            <a:ext cx="3635807" cy="1944000"/>
          </a:xfrm>
        </p:spPr>
        <p:txBody>
          <a:bodyPr lIns="75600" tIns="108000" rIns="75600" bIns="108000"/>
          <a:lstStyle>
            <a:lvl1pPr>
              <a:spcBef>
                <a:spcPts val="800"/>
              </a:spcBef>
              <a:defRPr sz="1800"/>
            </a:lvl1pPr>
            <a:lvl2pPr>
              <a:spcBef>
                <a:spcPts val="400"/>
              </a:spcBef>
              <a:defRPr sz="1600"/>
            </a:lvl2pPr>
            <a:lvl3pPr>
              <a:spcBef>
                <a:spcPts val="200"/>
              </a:spcBef>
              <a:defRPr sz="1400"/>
            </a:lvl3pPr>
            <a:lvl4pPr>
              <a:spcBef>
                <a:spcPts val="100"/>
              </a:spcBef>
              <a:defRPr sz="1200"/>
            </a:lvl4pPr>
            <a:lvl5pPr>
              <a:spcBef>
                <a:spcPts val="800"/>
              </a:spcBef>
              <a:defRPr sz="1600"/>
            </a:lvl5pPr>
            <a:lvl6pPr>
              <a:spcBef>
                <a:spcPts val="200"/>
              </a:spcBef>
              <a:defRPr sz="1400"/>
            </a:lvl6pPr>
            <a:lvl7pPr>
              <a:spcBef>
                <a:spcPts val="1000"/>
              </a:spcBef>
              <a:defRPr sz="1800"/>
            </a:lvl7pPr>
            <a:lvl8pPr>
              <a:spcBef>
                <a:spcPts val="400"/>
              </a:spcBef>
              <a:defRPr sz="1600"/>
            </a:lvl8pPr>
            <a:lvl9pPr>
              <a:spcBef>
                <a:spcPts val="200"/>
              </a:spcBef>
              <a:defRPr sz="14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AA1229FE-B618-49E1-BBE3-36A49AD279A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5" y="1484784"/>
            <a:ext cx="1512167" cy="1944000"/>
          </a:xfrm>
          <a:prstGeom prst="roundRect">
            <a:avLst>
              <a:gd name="adj" fmla="val 1744"/>
            </a:avLst>
          </a:prstGeom>
          <a:solidFill>
            <a:schemeClr val="accent1"/>
          </a:solidFill>
        </p:spPr>
        <p:txBody>
          <a:bodyPr lIns="144000" tIns="108000" rIns="144000" bIns="108000" anchor="t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8" name="Espace réservé du texte 4">
            <a:extLst>
              <a:ext uri="{FF2B5EF4-FFF2-40B4-BE49-F238E27FC236}">
                <a16:creationId xmlns:a16="http://schemas.microsoft.com/office/drawing/2014/main" id="{C9AD677E-54B9-4148-9BF8-37FAF0C23F5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46801" y="1484784"/>
            <a:ext cx="1512167" cy="1944000"/>
          </a:xfrm>
          <a:prstGeom prst="roundRect">
            <a:avLst>
              <a:gd name="adj" fmla="val 1744"/>
            </a:avLst>
          </a:prstGeom>
          <a:solidFill>
            <a:schemeClr val="accent1"/>
          </a:solidFill>
        </p:spPr>
        <p:txBody>
          <a:bodyPr lIns="144000" tIns="108000" rIns="144000" bIns="108000" anchor="t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6391058F-5730-4D0F-B72D-3C584E1CA10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51385" y="3573016"/>
            <a:ext cx="1512167" cy="1944000"/>
          </a:xfrm>
          <a:prstGeom prst="roundRect">
            <a:avLst>
              <a:gd name="adj" fmla="val 1744"/>
            </a:avLst>
          </a:prstGeom>
          <a:solidFill>
            <a:schemeClr val="accent1"/>
          </a:solidFill>
        </p:spPr>
        <p:txBody>
          <a:bodyPr lIns="144000" tIns="108000" rIns="144000" bIns="108000" anchor="t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ACB38B93-FBE5-4FAC-B612-144EA34C14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6801" y="3573016"/>
            <a:ext cx="1512167" cy="1944000"/>
          </a:xfrm>
          <a:prstGeom prst="roundRect">
            <a:avLst>
              <a:gd name="adj" fmla="val 1744"/>
            </a:avLst>
          </a:prstGeom>
          <a:solidFill>
            <a:schemeClr val="accent1"/>
          </a:solidFill>
        </p:spPr>
        <p:txBody>
          <a:bodyPr lIns="144000" tIns="108000" rIns="144000" bIns="108000" anchor="t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/>
              <a:t>Ajoutez un message utile</a:t>
            </a:r>
          </a:p>
        </p:txBody>
      </p:sp>
      <p:sp>
        <p:nvSpPr>
          <p:cNvPr id="20" name="Espace réservé du texte 15">
            <a:extLst>
              <a:ext uri="{FF2B5EF4-FFF2-40B4-BE49-F238E27FC236}">
                <a16:creationId xmlns:a16="http://schemas.microsoft.com/office/drawing/2014/main" id="{D9036AE5-DDCF-4EDB-8EA9-76F2EE4FA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5733256"/>
            <a:ext cx="12192000" cy="648008"/>
          </a:xfrm>
          <a:solidFill>
            <a:schemeClr val="accent1"/>
          </a:solidFill>
        </p:spPr>
        <p:txBody>
          <a:bodyPr lIns="550800" tIns="0" rIns="550800" bIns="0" anchor="ctr" anchorCtr="0"/>
          <a:lstStyle>
            <a:lvl1pPr marL="0" indent="0">
              <a:lnSpc>
                <a:spcPct val="85000"/>
              </a:lnSpc>
              <a:spcBef>
                <a:spcPts val="0"/>
              </a:spcBef>
              <a:buFontTx/>
              <a:buNone/>
              <a:defRPr sz="22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fr-CA"/>
              <a:t>Cliquez pour modifier le texte de la boîte de message</a:t>
            </a:r>
          </a:p>
        </p:txBody>
      </p:sp>
    </p:spTree>
    <p:extLst>
      <p:ext uri="{BB962C8B-B14F-4D97-AF65-F5344CB8AC3E}">
        <p14:creationId xmlns:p14="http://schemas.microsoft.com/office/powerpoint/2010/main" val="146465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3BF745E-69ED-FC00-84F2-F2D495BAB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E54392B-4062-7710-5625-1FE3FE6FA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2C2FAE5-C1C0-4AFD-F77F-415C181E84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9460252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à gauche + 1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227E1A5-3C07-4E67-9BEF-8388EB7BCB7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935759" y="479208"/>
            <a:ext cx="7704857" cy="5902120"/>
          </a:xfrm>
        </p:spPr>
        <p:txBody>
          <a:bodyPr lIns="252000" tIns="180000" rIns="252000" bIns="180000"/>
          <a:lstStyle>
            <a:lvl1pPr>
              <a:defRPr/>
            </a:lvl1pPr>
            <a:lvl5pPr>
              <a:defRPr/>
            </a:lvl5pPr>
            <a:lvl7pPr>
              <a:defRPr/>
            </a:lvl7pPr>
            <a:lvl9pPr>
              <a:defRPr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 pour une deuxième option de texte sans puce</a:t>
            </a:r>
          </a:p>
          <a:p>
            <a:pPr lvl="8"/>
            <a:r>
              <a:rPr lang="fr-CA"/>
              <a:t>Neuvième niveau identique au troisièm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6406D6D-B177-495A-9FD3-1C4B82B399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AA849EDA-80B2-4C83-9977-E4101F34D5A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15" name="Espace réservé du pied de page 14">
            <a:extLst>
              <a:ext uri="{FF2B5EF4-FFF2-40B4-BE49-F238E27FC236}">
                <a16:creationId xmlns:a16="http://schemas.microsoft.com/office/drawing/2014/main" id="{DE84A3AA-C396-487D-8E53-399F7AA2BBF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654AA222-0E56-43D6-ADB9-9485AB29BD3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E0104BE7-7BF4-47EC-B958-74FABD4C2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DC52E04-F319-43F3-8235-ADF1042F02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5" y="479207"/>
            <a:ext cx="3384375" cy="5902119"/>
          </a:xfrm>
          <a:prstGeom prst="roundRect">
            <a:avLst>
              <a:gd name="adj" fmla="val 930"/>
            </a:avLst>
          </a:prstGeom>
          <a:solidFill>
            <a:schemeClr val="accent1"/>
          </a:solidFill>
        </p:spPr>
        <p:txBody>
          <a:bodyPr lIns="252000" tIns="180000" rIns="252000" bIns="180000" anchor="t" anchorCtr="0"/>
          <a:lstStyle>
            <a:lvl1pPr>
              <a:lnSpc>
                <a:spcPct val="12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r-CA"/>
              <a:t>Cliquez pour ajouter une manchette</a:t>
            </a:r>
          </a:p>
        </p:txBody>
      </p:sp>
    </p:spTree>
    <p:extLst>
      <p:ext uri="{BB962C8B-B14F-4D97-AF65-F5344CB8AC3E}">
        <p14:creationId xmlns:p14="http://schemas.microsoft.com/office/powerpoint/2010/main" val="49945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à gauche + 2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6406D6D-B177-495A-9FD3-1C4B82B399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AA849EDA-80B2-4C83-9977-E4101F34D5A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15" name="Espace réservé du pied de page 14">
            <a:extLst>
              <a:ext uri="{FF2B5EF4-FFF2-40B4-BE49-F238E27FC236}">
                <a16:creationId xmlns:a16="http://schemas.microsoft.com/office/drawing/2014/main" id="{DE84A3AA-C396-487D-8E53-399F7AA2BBF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654AA222-0E56-43D6-ADB9-9485AB29BD3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E0104BE7-7BF4-47EC-B958-74FABD4C2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52EC8B53-7948-45D0-BEDB-9D9DF14F28F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35759" y="3429326"/>
            <a:ext cx="7704857" cy="2952000"/>
          </a:xfrm>
          <a:solidFill>
            <a:schemeClr val="accent4">
              <a:lumMod val="20000"/>
              <a:lumOff val="80000"/>
            </a:schemeClr>
          </a:solidFill>
        </p:spPr>
        <p:txBody>
          <a:bodyPr lIns="252000" tIns="180000" rIns="252000" bIns="180000"/>
          <a:lstStyle>
            <a:lvl1pPr>
              <a:spcBef>
                <a:spcPts val="800"/>
              </a:spcBef>
              <a:defRPr sz="2400"/>
            </a:lvl1pPr>
            <a:lvl2pPr>
              <a:spcBef>
                <a:spcPts val="400"/>
              </a:spcBef>
              <a:defRPr sz="2000"/>
            </a:lvl2pPr>
            <a:lvl3pPr>
              <a:spcBef>
                <a:spcPts val="200"/>
              </a:spcBef>
              <a:defRPr sz="1800"/>
            </a:lvl3pPr>
            <a:lvl4pPr>
              <a:spcBef>
                <a:spcPts val="100"/>
              </a:spcBef>
              <a:defRPr sz="1600"/>
            </a:lvl4pPr>
            <a:lvl5pPr>
              <a:spcBef>
                <a:spcPts val="800"/>
              </a:spcBef>
              <a:defRPr sz="2000"/>
            </a:lvl5pPr>
            <a:lvl6pPr>
              <a:spcBef>
                <a:spcPts val="200"/>
              </a:spcBef>
              <a:defRPr sz="1800"/>
            </a:lvl6pPr>
            <a:lvl7pPr>
              <a:spcBef>
                <a:spcPts val="1000"/>
              </a:spcBef>
              <a:defRPr sz="2400"/>
            </a:lvl7pPr>
            <a:lvl8pPr>
              <a:spcBef>
                <a:spcPts val="400"/>
              </a:spcBef>
              <a:defRPr/>
            </a:lvl8pPr>
            <a:lvl9pPr>
              <a:spcBef>
                <a:spcPts val="200"/>
              </a:spcBef>
              <a:defRPr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D630330D-2FC8-4586-9605-551F02A8C7C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935759" y="479207"/>
            <a:ext cx="7704857" cy="2952000"/>
          </a:xfrm>
          <a:solidFill>
            <a:schemeClr val="accent4">
              <a:lumMod val="40000"/>
              <a:lumOff val="60000"/>
            </a:schemeClr>
          </a:solidFill>
        </p:spPr>
        <p:txBody>
          <a:bodyPr lIns="252000" tIns="180000" rIns="252000" bIns="180000"/>
          <a:lstStyle>
            <a:lvl1pPr>
              <a:spcBef>
                <a:spcPts val="800"/>
              </a:spcBef>
              <a:defRPr sz="2400"/>
            </a:lvl1pPr>
            <a:lvl2pPr>
              <a:spcBef>
                <a:spcPts val="400"/>
              </a:spcBef>
              <a:defRPr sz="2000"/>
            </a:lvl2pPr>
            <a:lvl3pPr>
              <a:spcBef>
                <a:spcPts val="200"/>
              </a:spcBef>
              <a:defRPr sz="1800"/>
            </a:lvl3pPr>
            <a:lvl4pPr>
              <a:spcBef>
                <a:spcPts val="100"/>
              </a:spcBef>
              <a:defRPr sz="1600"/>
            </a:lvl4pPr>
            <a:lvl5pPr>
              <a:spcBef>
                <a:spcPts val="800"/>
              </a:spcBef>
              <a:defRPr sz="2000"/>
            </a:lvl5pPr>
            <a:lvl6pPr>
              <a:spcBef>
                <a:spcPts val="200"/>
              </a:spcBef>
              <a:defRPr sz="1800"/>
            </a:lvl6pPr>
            <a:lvl7pPr>
              <a:spcBef>
                <a:spcPts val="1000"/>
              </a:spcBef>
              <a:defRPr sz="2400"/>
            </a:lvl7pPr>
            <a:lvl8pPr>
              <a:spcBef>
                <a:spcPts val="400"/>
              </a:spcBef>
              <a:defRPr/>
            </a:lvl8pPr>
            <a:lvl9pPr>
              <a:spcBef>
                <a:spcPts val="200"/>
              </a:spcBef>
              <a:defRPr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DC52E04-F319-43F3-8235-ADF1042F02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5" y="479207"/>
            <a:ext cx="3384375" cy="5902119"/>
          </a:xfrm>
          <a:solidFill>
            <a:schemeClr val="accent1"/>
          </a:solidFill>
        </p:spPr>
        <p:txBody>
          <a:bodyPr lIns="252000" tIns="180000" rIns="252000" bIns="180000" anchor="t" anchorCtr="0"/>
          <a:lstStyle>
            <a:lvl1pPr>
              <a:lnSpc>
                <a:spcPct val="12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r-CA"/>
              <a:t>Cliquez pour ajouter une manchette</a:t>
            </a:r>
          </a:p>
        </p:txBody>
      </p:sp>
    </p:spTree>
    <p:extLst>
      <p:ext uri="{BB962C8B-B14F-4D97-AF65-F5344CB8AC3E}">
        <p14:creationId xmlns:p14="http://schemas.microsoft.com/office/powerpoint/2010/main" val="52741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à gauche + 3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6406D6D-B177-495A-9FD3-1C4B82B399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AA849EDA-80B2-4C83-9977-E4101F34D5A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15" name="Espace réservé du pied de page 14">
            <a:extLst>
              <a:ext uri="{FF2B5EF4-FFF2-40B4-BE49-F238E27FC236}">
                <a16:creationId xmlns:a16="http://schemas.microsoft.com/office/drawing/2014/main" id="{DE84A3AA-C396-487D-8E53-399F7AA2BBF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654AA222-0E56-43D6-ADB9-9485AB29BD3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1" name="Espace réservé du texte 13">
            <a:extLst>
              <a:ext uri="{FF2B5EF4-FFF2-40B4-BE49-F238E27FC236}">
                <a16:creationId xmlns:a16="http://schemas.microsoft.com/office/drawing/2014/main" id="{E0104BE7-7BF4-47EC-B958-74FABD4C27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D630330D-2FC8-4586-9605-551F02A8C7C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935759" y="479207"/>
            <a:ext cx="7704857" cy="1969200"/>
          </a:xfrm>
          <a:solidFill>
            <a:schemeClr val="accent4">
              <a:lumMod val="40000"/>
              <a:lumOff val="60000"/>
            </a:schemeClr>
          </a:solidFill>
        </p:spPr>
        <p:txBody>
          <a:bodyPr lIns="252000" tIns="180000" rIns="252000" bIns="180000"/>
          <a:lstStyle>
            <a:lvl1pPr>
              <a:spcBef>
                <a:spcPts val="800"/>
              </a:spcBef>
              <a:defRPr sz="2000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200"/>
              </a:spcBef>
              <a:defRPr sz="1600"/>
            </a:lvl3pPr>
            <a:lvl4pPr>
              <a:spcBef>
                <a:spcPts val="100"/>
              </a:spcBef>
              <a:defRPr sz="1400"/>
            </a:lvl4pPr>
            <a:lvl5pPr>
              <a:spcBef>
                <a:spcPts val="800"/>
              </a:spcBef>
              <a:defRPr sz="1800"/>
            </a:lvl5pPr>
            <a:lvl6pPr>
              <a:spcBef>
                <a:spcPts val="200"/>
              </a:spcBef>
              <a:defRPr sz="1600"/>
            </a:lvl6pPr>
            <a:lvl7pPr>
              <a:spcBef>
                <a:spcPts val="1000"/>
              </a:spcBef>
              <a:defRPr sz="2000"/>
            </a:lvl7pPr>
            <a:lvl8pPr>
              <a:spcBef>
                <a:spcPts val="400"/>
              </a:spcBef>
              <a:defRPr sz="1800"/>
            </a:lvl8pPr>
            <a:lvl9pPr>
              <a:spcBef>
                <a:spcPts val="200"/>
              </a:spcBef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52EC8B53-7948-45D0-BEDB-9D9DF14F28F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35759" y="2447467"/>
            <a:ext cx="7704857" cy="1965600"/>
          </a:xfrm>
          <a:solidFill>
            <a:schemeClr val="accent4">
              <a:lumMod val="20000"/>
              <a:lumOff val="80000"/>
            </a:schemeClr>
          </a:solidFill>
        </p:spPr>
        <p:txBody>
          <a:bodyPr lIns="252000" tIns="180000" rIns="252000" bIns="180000"/>
          <a:lstStyle>
            <a:lvl1pPr>
              <a:spcBef>
                <a:spcPts val="800"/>
              </a:spcBef>
              <a:defRPr sz="2000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200"/>
              </a:spcBef>
              <a:defRPr sz="1600"/>
            </a:lvl3pPr>
            <a:lvl4pPr>
              <a:spcBef>
                <a:spcPts val="100"/>
              </a:spcBef>
              <a:defRPr sz="1400"/>
            </a:lvl4pPr>
            <a:lvl5pPr>
              <a:spcBef>
                <a:spcPts val="800"/>
              </a:spcBef>
              <a:defRPr sz="1800"/>
            </a:lvl5pPr>
            <a:lvl6pPr>
              <a:spcBef>
                <a:spcPts val="200"/>
              </a:spcBef>
              <a:defRPr sz="1600"/>
            </a:lvl6pPr>
            <a:lvl7pPr>
              <a:spcBef>
                <a:spcPts val="1000"/>
              </a:spcBef>
              <a:defRPr sz="2000"/>
            </a:lvl7pPr>
            <a:lvl8pPr>
              <a:spcBef>
                <a:spcPts val="400"/>
              </a:spcBef>
              <a:defRPr sz="1800"/>
            </a:lvl8pPr>
            <a:lvl9pPr>
              <a:spcBef>
                <a:spcPts val="200"/>
              </a:spcBef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14" name="Espace réservé du contenu 3">
            <a:extLst>
              <a:ext uri="{FF2B5EF4-FFF2-40B4-BE49-F238E27FC236}">
                <a16:creationId xmlns:a16="http://schemas.microsoft.com/office/drawing/2014/main" id="{B83ACF74-84F0-4F5E-99E6-11239CEC9772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3935759" y="4412126"/>
            <a:ext cx="7704857" cy="1969200"/>
          </a:xfrm>
          <a:solidFill>
            <a:schemeClr val="accent4">
              <a:lumMod val="40000"/>
              <a:lumOff val="60000"/>
            </a:schemeClr>
          </a:solidFill>
        </p:spPr>
        <p:txBody>
          <a:bodyPr lIns="252000" tIns="180000" rIns="252000" bIns="180000"/>
          <a:lstStyle>
            <a:lvl1pPr>
              <a:spcBef>
                <a:spcPts val="800"/>
              </a:spcBef>
              <a:defRPr sz="2000"/>
            </a:lvl1pPr>
            <a:lvl2pPr>
              <a:spcBef>
                <a:spcPts val="400"/>
              </a:spcBef>
              <a:defRPr sz="1800"/>
            </a:lvl2pPr>
            <a:lvl3pPr>
              <a:spcBef>
                <a:spcPts val="200"/>
              </a:spcBef>
              <a:defRPr sz="1600"/>
            </a:lvl3pPr>
            <a:lvl4pPr>
              <a:spcBef>
                <a:spcPts val="100"/>
              </a:spcBef>
              <a:defRPr sz="1400"/>
            </a:lvl4pPr>
            <a:lvl5pPr>
              <a:spcBef>
                <a:spcPts val="800"/>
              </a:spcBef>
              <a:defRPr sz="1800"/>
            </a:lvl5pPr>
            <a:lvl6pPr>
              <a:spcBef>
                <a:spcPts val="200"/>
              </a:spcBef>
              <a:defRPr sz="1600"/>
            </a:lvl6pPr>
            <a:lvl7pPr>
              <a:spcBef>
                <a:spcPts val="1000"/>
              </a:spcBef>
              <a:defRPr sz="2000"/>
            </a:lvl7pPr>
            <a:lvl8pPr>
              <a:spcBef>
                <a:spcPts val="400"/>
              </a:spcBef>
              <a:defRPr sz="1800"/>
            </a:lvl8pPr>
            <a:lvl9pPr>
              <a:spcBef>
                <a:spcPts val="200"/>
              </a:spcBef>
              <a:defRPr sz="1600"/>
            </a:lvl9pPr>
          </a:lstStyle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</a:t>
            </a:r>
          </a:p>
          <a:p>
            <a:pPr lvl="7"/>
            <a:r>
              <a:rPr lang="fr-CA"/>
              <a:t>Huitième niveau</a:t>
            </a:r>
          </a:p>
          <a:p>
            <a:pPr lvl="8"/>
            <a:r>
              <a:rPr lang="fr-CA"/>
              <a:t>Neuv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1DC52E04-F319-43F3-8235-ADF1042F02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5" y="479207"/>
            <a:ext cx="3384375" cy="5902119"/>
          </a:xfrm>
          <a:solidFill>
            <a:schemeClr val="accent1"/>
          </a:solidFill>
        </p:spPr>
        <p:txBody>
          <a:bodyPr lIns="252000" tIns="180000" rIns="252000" bIns="180000" anchor="t" anchorCtr="0"/>
          <a:lstStyle>
            <a:lvl1pPr>
              <a:lnSpc>
                <a:spcPct val="12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fr-CA"/>
              <a:t>Cliquez pour ajouter une manchette</a:t>
            </a:r>
          </a:p>
        </p:txBody>
      </p:sp>
    </p:spTree>
    <p:extLst>
      <p:ext uri="{BB962C8B-B14F-4D97-AF65-F5344CB8AC3E}">
        <p14:creationId xmlns:p14="http://schemas.microsoft.com/office/powerpoint/2010/main" val="752696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locs avec statist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A6A8F77-D992-4E8B-BEE5-6FA244F0C4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5" y="403200"/>
            <a:ext cx="11089232" cy="1008000"/>
          </a:xfrm>
        </p:spPr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156E464-25F0-433B-8692-B23BB61D51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1127C7D-C40E-4996-87CC-994CD4AEB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EAE542F-0BB2-4ECE-8063-7BE5DE937A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A34AEFA-5CED-4DE9-8E6E-DB7B98DE9A1B}"/>
              </a:ext>
            </a:extLst>
          </p:cNvPr>
          <p:cNvSpPr/>
          <p:nvPr/>
        </p:nvSpPr>
        <p:spPr>
          <a:xfrm>
            <a:off x="6579941" y="1646440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8ADBA70-BBAF-4F30-93FE-8EC7F228215C}"/>
              </a:ext>
            </a:extLst>
          </p:cNvPr>
          <p:cNvSpPr/>
          <p:nvPr/>
        </p:nvSpPr>
        <p:spPr>
          <a:xfrm>
            <a:off x="10265629" y="1673498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5AF59B-4276-4B2A-AB0B-DE38F99A5394}"/>
              </a:ext>
            </a:extLst>
          </p:cNvPr>
          <p:cNvSpPr/>
          <p:nvPr/>
        </p:nvSpPr>
        <p:spPr>
          <a:xfrm>
            <a:off x="10311402" y="4066253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215834B-3C41-4E74-AB14-329DAC0DA3B2}"/>
              </a:ext>
            </a:extLst>
          </p:cNvPr>
          <p:cNvSpPr/>
          <p:nvPr/>
        </p:nvSpPr>
        <p:spPr>
          <a:xfrm>
            <a:off x="6568799" y="4041131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16CA93E-2375-4BD9-A598-F8EE1A358DE3}"/>
              </a:ext>
            </a:extLst>
          </p:cNvPr>
          <p:cNvSpPr/>
          <p:nvPr/>
        </p:nvSpPr>
        <p:spPr>
          <a:xfrm>
            <a:off x="2806261" y="4044776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1F63F62-9A96-444A-8D9D-03AF0BC73590}"/>
              </a:ext>
            </a:extLst>
          </p:cNvPr>
          <p:cNvSpPr/>
          <p:nvPr/>
        </p:nvSpPr>
        <p:spPr>
          <a:xfrm>
            <a:off x="2870633" y="1636239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  <p:sp>
        <p:nvSpPr>
          <p:cNvPr id="36" name="Espace réservé du contenu 64">
            <a:extLst>
              <a:ext uri="{FF2B5EF4-FFF2-40B4-BE49-F238E27FC236}">
                <a16:creationId xmlns:a16="http://schemas.microsoft.com/office/drawing/2014/main" id="{69AF7B25-C72B-4DFC-8277-28D64415388D}"/>
              </a:ext>
            </a:extLst>
          </p:cNvPr>
          <p:cNvSpPr>
            <a:spLocks noGrp="1"/>
          </p:cNvSpPr>
          <p:nvPr>
            <p:ph sz="half" idx="35" hasCustomPrompt="1"/>
          </p:nvPr>
        </p:nvSpPr>
        <p:spPr>
          <a:xfrm>
            <a:off x="551385" y="4625760"/>
            <a:ext cx="3594416" cy="1539544"/>
          </a:xfrm>
          <a:custGeom>
            <a:avLst/>
            <a:gdLst>
              <a:gd name="connsiteX0" fmla="*/ 0 w 3594416"/>
              <a:gd name="connsiteY0" fmla="*/ 0 h 1539544"/>
              <a:gd name="connsiteX1" fmla="*/ 2552148 w 3594416"/>
              <a:gd name="connsiteY1" fmla="*/ 0 h 1539544"/>
              <a:gd name="connsiteX2" fmla="*/ 2575707 w 3594416"/>
              <a:gd name="connsiteY2" fmla="*/ 75897 h 1539544"/>
              <a:gd name="connsiteX3" fmla="*/ 2990344 w 3594416"/>
              <a:gd name="connsiteY3" fmla="*/ 350737 h 1539544"/>
              <a:gd name="connsiteX4" fmla="*/ 3404981 w 3594416"/>
              <a:gd name="connsiteY4" fmla="*/ 75897 h 1539544"/>
              <a:gd name="connsiteX5" fmla="*/ 3428541 w 3594416"/>
              <a:gd name="connsiteY5" fmla="*/ 0 h 1539544"/>
              <a:gd name="connsiteX6" fmla="*/ 3594416 w 3594416"/>
              <a:gd name="connsiteY6" fmla="*/ 0 h 1539544"/>
              <a:gd name="connsiteX7" fmla="*/ 3594416 w 3594416"/>
              <a:gd name="connsiteY7" fmla="*/ 1539544 h 1539544"/>
              <a:gd name="connsiteX8" fmla="*/ 0 w 3594416"/>
              <a:gd name="connsiteY8" fmla="*/ 1539544 h 153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94416" h="1539544">
                <a:moveTo>
                  <a:pt x="0" y="0"/>
                </a:moveTo>
                <a:lnTo>
                  <a:pt x="2552148" y="0"/>
                </a:lnTo>
                <a:lnTo>
                  <a:pt x="2575707" y="75897"/>
                </a:lnTo>
                <a:cubicBezTo>
                  <a:pt x="2644021" y="237409"/>
                  <a:pt x="2803948" y="350737"/>
                  <a:pt x="2990344" y="350737"/>
                </a:cubicBezTo>
                <a:cubicBezTo>
                  <a:pt x="3176740" y="350737"/>
                  <a:pt x="3336667" y="237409"/>
                  <a:pt x="3404981" y="75897"/>
                </a:cubicBezTo>
                <a:lnTo>
                  <a:pt x="3428541" y="0"/>
                </a:lnTo>
                <a:lnTo>
                  <a:pt x="3594416" y="0"/>
                </a:lnTo>
                <a:lnTo>
                  <a:pt x="3594416" y="1539544"/>
                </a:lnTo>
                <a:lnTo>
                  <a:pt x="0" y="1539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360000" rIns="144000" bIns="72000">
            <a:noAutofit/>
          </a:bodyPr>
          <a:lstStyle>
            <a:lvl1pPr marL="90000" indent="-90000">
              <a:spcBef>
                <a:spcPts val="800"/>
              </a:spcBef>
              <a:buSzPct val="25000"/>
              <a:buFont typeface="Arial" panose="020B0604020202020204" pitchFamily="34" charset="0"/>
              <a:buChar char=" "/>
              <a:defRPr sz="1800"/>
            </a:lvl1pPr>
            <a:lvl2pPr>
              <a:spcBef>
                <a:spcPts val="400"/>
              </a:spcBef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fr-CA" noProof="0"/>
              <a:t>Cliquez pour modifier le texte</a:t>
            </a:r>
          </a:p>
          <a:p>
            <a:pPr lvl="1"/>
            <a:r>
              <a:rPr lang="fr-CA" noProof="0"/>
              <a:t>Deuxième niveau</a:t>
            </a:r>
          </a:p>
        </p:txBody>
      </p:sp>
      <p:sp>
        <p:nvSpPr>
          <p:cNvPr id="37" name="Espace réservé du contenu 65">
            <a:extLst>
              <a:ext uri="{FF2B5EF4-FFF2-40B4-BE49-F238E27FC236}">
                <a16:creationId xmlns:a16="http://schemas.microsoft.com/office/drawing/2014/main" id="{31499ECD-4F08-4321-BA1B-FFF35F5A61CE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4298792" y="4625760"/>
            <a:ext cx="3594416" cy="1539544"/>
          </a:xfrm>
          <a:custGeom>
            <a:avLst/>
            <a:gdLst>
              <a:gd name="connsiteX0" fmla="*/ 0 w 3594416"/>
              <a:gd name="connsiteY0" fmla="*/ 0 h 1539544"/>
              <a:gd name="connsiteX1" fmla="*/ 2544675 w 3594416"/>
              <a:gd name="connsiteY1" fmla="*/ 0 h 1539544"/>
              <a:gd name="connsiteX2" fmla="*/ 2568234 w 3594416"/>
              <a:gd name="connsiteY2" fmla="*/ 75897 h 1539544"/>
              <a:gd name="connsiteX3" fmla="*/ 2982871 w 3594416"/>
              <a:gd name="connsiteY3" fmla="*/ 350737 h 1539544"/>
              <a:gd name="connsiteX4" fmla="*/ 3397508 w 3594416"/>
              <a:gd name="connsiteY4" fmla="*/ 75897 h 1539544"/>
              <a:gd name="connsiteX5" fmla="*/ 3421068 w 3594416"/>
              <a:gd name="connsiteY5" fmla="*/ 0 h 1539544"/>
              <a:gd name="connsiteX6" fmla="*/ 3594416 w 3594416"/>
              <a:gd name="connsiteY6" fmla="*/ 0 h 1539544"/>
              <a:gd name="connsiteX7" fmla="*/ 3594416 w 3594416"/>
              <a:gd name="connsiteY7" fmla="*/ 1539544 h 1539544"/>
              <a:gd name="connsiteX8" fmla="*/ 0 w 3594416"/>
              <a:gd name="connsiteY8" fmla="*/ 1539544 h 153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94416" h="1539544">
                <a:moveTo>
                  <a:pt x="0" y="0"/>
                </a:moveTo>
                <a:lnTo>
                  <a:pt x="2544675" y="0"/>
                </a:lnTo>
                <a:lnTo>
                  <a:pt x="2568234" y="75897"/>
                </a:lnTo>
                <a:cubicBezTo>
                  <a:pt x="2636548" y="237409"/>
                  <a:pt x="2796475" y="350737"/>
                  <a:pt x="2982871" y="350737"/>
                </a:cubicBezTo>
                <a:cubicBezTo>
                  <a:pt x="3169267" y="350737"/>
                  <a:pt x="3329194" y="237409"/>
                  <a:pt x="3397508" y="75897"/>
                </a:cubicBezTo>
                <a:lnTo>
                  <a:pt x="3421068" y="0"/>
                </a:lnTo>
                <a:lnTo>
                  <a:pt x="3594416" y="0"/>
                </a:lnTo>
                <a:lnTo>
                  <a:pt x="3594416" y="1539544"/>
                </a:lnTo>
                <a:lnTo>
                  <a:pt x="0" y="1539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360000" rIns="144000" bIns="72000">
            <a:noAutofit/>
          </a:bodyPr>
          <a:lstStyle>
            <a:lvl1pPr marL="90000" indent="-90000">
              <a:spcBef>
                <a:spcPts val="800"/>
              </a:spcBef>
              <a:buFont typeface="Arial" panose="020B0604020202020204" pitchFamily="34" charset="0"/>
              <a:buChar char=" "/>
              <a:defRPr lang="en-CA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400"/>
              </a:spcBef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fr-CA" noProof="0"/>
              <a:t>Cliquez pour modifier le texte</a:t>
            </a:r>
          </a:p>
          <a:p>
            <a:pPr lvl="1"/>
            <a:r>
              <a:rPr lang="fr-CA" noProof="0"/>
              <a:t>Deuxième niveau</a:t>
            </a:r>
          </a:p>
        </p:txBody>
      </p:sp>
      <p:sp>
        <p:nvSpPr>
          <p:cNvPr id="38" name="Espace réservé du contenu 66">
            <a:extLst>
              <a:ext uri="{FF2B5EF4-FFF2-40B4-BE49-F238E27FC236}">
                <a16:creationId xmlns:a16="http://schemas.microsoft.com/office/drawing/2014/main" id="{F327B344-28EA-4FC8-8BC5-19BCA6B4165C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8046200" y="4625760"/>
            <a:ext cx="3594416" cy="1539544"/>
          </a:xfrm>
          <a:custGeom>
            <a:avLst/>
            <a:gdLst>
              <a:gd name="connsiteX0" fmla="*/ 0 w 3594416"/>
              <a:gd name="connsiteY0" fmla="*/ 0 h 1539544"/>
              <a:gd name="connsiteX1" fmla="*/ 2537200 w 3594416"/>
              <a:gd name="connsiteY1" fmla="*/ 0 h 1539544"/>
              <a:gd name="connsiteX2" fmla="*/ 2560760 w 3594416"/>
              <a:gd name="connsiteY2" fmla="*/ 75897 h 1539544"/>
              <a:gd name="connsiteX3" fmla="*/ 2975397 w 3594416"/>
              <a:gd name="connsiteY3" fmla="*/ 350737 h 1539544"/>
              <a:gd name="connsiteX4" fmla="*/ 3390034 w 3594416"/>
              <a:gd name="connsiteY4" fmla="*/ 75897 h 1539544"/>
              <a:gd name="connsiteX5" fmla="*/ 3413594 w 3594416"/>
              <a:gd name="connsiteY5" fmla="*/ 0 h 1539544"/>
              <a:gd name="connsiteX6" fmla="*/ 3594416 w 3594416"/>
              <a:gd name="connsiteY6" fmla="*/ 0 h 1539544"/>
              <a:gd name="connsiteX7" fmla="*/ 3594416 w 3594416"/>
              <a:gd name="connsiteY7" fmla="*/ 1539544 h 1539544"/>
              <a:gd name="connsiteX8" fmla="*/ 0 w 3594416"/>
              <a:gd name="connsiteY8" fmla="*/ 1539544 h 153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94416" h="1539544">
                <a:moveTo>
                  <a:pt x="0" y="0"/>
                </a:moveTo>
                <a:lnTo>
                  <a:pt x="2537200" y="0"/>
                </a:lnTo>
                <a:lnTo>
                  <a:pt x="2560760" y="75897"/>
                </a:lnTo>
                <a:cubicBezTo>
                  <a:pt x="2629074" y="237409"/>
                  <a:pt x="2789001" y="350737"/>
                  <a:pt x="2975397" y="350737"/>
                </a:cubicBezTo>
                <a:cubicBezTo>
                  <a:pt x="3161793" y="350737"/>
                  <a:pt x="3321720" y="237409"/>
                  <a:pt x="3390034" y="75897"/>
                </a:cubicBezTo>
                <a:lnTo>
                  <a:pt x="3413594" y="0"/>
                </a:lnTo>
                <a:lnTo>
                  <a:pt x="3594416" y="0"/>
                </a:lnTo>
                <a:lnTo>
                  <a:pt x="3594416" y="1539544"/>
                </a:lnTo>
                <a:lnTo>
                  <a:pt x="0" y="1539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360000" rIns="144000" bIns="72000">
            <a:noAutofit/>
          </a:bodyPr>
          <a:lstStyle>
            <a:lvl1pPr marL="90000" indent="-90000">
              <a:spcBef>
                <a:spcPts val="800"/>
              </a:spcBef>
              <a:buSzPct val="25000"/>
              <a:buFont typeface="Arial" panose="020B0604020202020204" pitchFamily="34" charset="0"/>
              <a:buChar char=" "/>
              <a:defRPr sz="1800"/>
            </a:lvl1pPr>
            <a:lvl2pPr>
              <a:spcBef>
                <a:spcPts val="400"/>
              </a:spcBef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fr-CA" noProof="0"/>
              <a:t>Cliquez pour modifier le texte</a:t>
            </a:r>
          </a:p>
          <a:p>
            <a:pPr lvl="1"/>
            <a:r>
              <a:rPr lang="fr-CA" noProof="0"/>
              <a:t>Deuxième niveau</a:t>
            </a:r>
          </a:p>
        </p:txBody>
      </p:sp>
      <p:sp>
        <p:nvSpPr>
          <p:cNvPr id="39" name="Espace réservé du texte 67">
            <a:extLst>
              <a:ext uri="{FF2B5EF4-FFF2-40B4-BE49-F238E27FC236}">
                <a16:creationId xmlns:a16="http://schemas.microsoft.com/office/drawing/2014/main" id="{D6038C70-F284-4AF9-9142-1C10EF2936D2}"/>
              </a:ext>
            </a:extLst>
          </p:cNvPr>
          <p:cNvSpPr>
            <a:spLocks noGrp="1"/>
          </p:cNvSpPr>
          <p:nvPr>
            <p:ph type="body" idx="38" hasCustomPrompt="1"/>
          </p:nvPr>
        </p:nvSpPr>
        <p:spPr>
          <a:xfrm>
            <a:off x="551385" y="3990904"/>
            <a:ext cx="3594416" cy="634856"/>
          </a:xfrm>
          <a:custGeom>
            <a:avLst/>
            <a:gdLst>
              <a:gd name="connsiteX0" fmla="*/ 0 w 3594416"/>
              <a:gd name="connsiteY0" fmla="*/ 0 h 634856"/>
              <a:gd name="connsiteX1" fmla="*/ 3594416 w 3594416"/>
              <a:gd name="connsiteY1" fmla="*/ 0 h 634856"/>
              <a:gd name="connsiteX2" fmla="*/ 3594416 w 3594416"/>
              <a:gd name="connsiteY2" fmla="*/ 634856 h 634856"/>
              <a:gd name="connsiteX3" fmla="*/ 3428791 w 3594416"/>
              <a:gd name="connsiteY3" fmla="*/ 634856 h 634856"/>
              <a:gd name="connsiteX4" fmla="*/ 3431202 w 3594416"/>
              <a:gd name="connsiteY4" fmla="*/ 627089 h 634856"/>
              <a:gd name="connsiteX5" fmla="*/ 3440344 w 3594416"/>
              <a:gd name="connsiteY5" fmla="*/ 536398 h 634856"/>
              <a:gd name="connsiteX6" fmla="*/ 2990344 w 3594416"/>
              <a:gd name="connsiteY6" fmla="*/ 86398 h 634856"/>
              <a:gd name="connsiteX7" fmla="*/ 2540344 w 3594416"/>
              <a:gd name="connsiteY7" fmla="*/ 536398 h 634856"/>
              <a:gd name="connsiteX8" fmla="*/ 2549487 w 3594416"/>
              <a:gd name="connsiteY8" fmla="*/ 627089 h 634856"/>
              <a:gd name="connsiteX9" fmla="*/ 2551898 w 3594416"/>
              <a:gd name="connsiteY9" fmla="*/ 634856 h 634856"/>
              <a:gd name="connsiteX10" fmla="*/ 0 w 3594416"/>
              <a:gd name="connsiteY10" fmla="*/ 634856 h 634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94416" h="634856">
                <a:moveTo>
                  <a:pt x="0" y="0"/>
                </a:moveTo>
                <a:lnTo>
                  <a:pt x="3594416" y="0"/>
                </a:lnTo>
                <a:lnTo>
                  <a:pt x="3594416" y="634856"/>
                </a:lnTo>
                <a:lnTo>
                  <a:pt x="3428791" y="634856"/>
                </a:lnTo>
                <a:lnTo>
                  <a:pt x="3431202" y="627089"/>
                </a:lnTo>
                <a:cubicBezTo>
                  <a:pt x="3437196" y="597795"/>
                  <a:pt x="3440344" y="567464"/>
                  <a:pt x="3440344" y="536398"/>
                </a:cubicBezTo>
                <a:cubicBezTo>
                  <a:pt x="3440344" y="287870"/>
                  <a:pt x="3238872" y="86398"/>
                  <a:pt x="2990344" y="86398"/>
                </a:cubicBezTo>
                <a:cubicBezTo>
                  <a:pt x="2741816" y="86398"/>
                  <a:pt x="2540344" y="287870"/>
                  <a:pt x="2540344" y="536398"/>
                </a:cubicBezTo>
                <a:cubicBezTo>
                  <a:pt x="2540344" y="567464"/>
                  <a:pt x="2543492" y="597795"/>
                  <a:pt x="2549487" y="627089"/>
                </a:cubicBezTo>
                <a:lnTo>
                  <a:pt x="2551898" y="634856"/>
                </a:lnTo>
                <a:lnTo>
                  <a:pt x="0" y="63485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234000" tIns="0" rIns="23400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 noProof="0"/>
              <a:t>X %</a:t>
            </a:r>
          </a:p>
        </p:txBody>
      </p:sp>
      <p:sp>
        <p:nvSpPr>
          <p:cNvPr id="40" name="Espace réservé du texte 68">
            <a:extLst>
              <a:ext uri="{FF2B5EF4-FFF2-40B4-BE49-F238E27FC236}">
                <a16:creationId xmlns:a16="http://schemas.microsoft.com/office/drawing/2014/main" id="{38B00D31-148B-45DD-888F-D1FACA0921B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298792" y="3990904"/>
            <a:ext cx="3594416" cy="634856"/>
          </a:xfrm>
          <a:custGeom>
            <a:avLst/>
            <a:gdLst>
              <a:gd name="connsiteX0" fmla="*/ 0 w 3594416"/>
              <a:gd name="connsiteY0" fmla="*/ 0 h 634856"/>
              <a:gd name="connsiteX1" fmla="*/ 3594416 w 3594416"/>
              <a:gd name="connsiteY1" fmla="*/ 0 h 634856"/>
              <a:gd name="connsiteX2" fmla="*/ 3594416 w 3594416"/>
              <a:gd name="connsiteY2" fmla="*/ 634856 h 634856"/>
              <a:gd name="connsiteX3" fmla="*/ 3421318 w 3594416"/>
              <a:gd name="connsiteY3" fmla="*/ 634856 h 634856"/>
              <a:gd name="connsiteX4" fmla="*/ 3423729 w 3594416"/>
              <a:gd name="connsiteY4" fmla="*/ 627089 h 634856"/>
              <a:gd name="connsiteX5" fmla="*/ 3432871 w 3594416"/>
              <a:gd name="connsiteY5" fmla="*/ 536398 h 634856"/>
              <a:gd name="connsiteX6" fmla="*/ 2982871 w 3594416"/>
              <a:gd name="connsiteY6" fmla="*/ 86398 h 634856"/>
              <a:gd name="connsiteX7" fmla="*/ 2532871 w 3594416"/>
              <a:gd name="connsiteY7" fmla="*/ 536398 h 634856"/>
              <a:gd name="connsiteX8" fmla="*/ 2542014 w 3594416"/>
              <a:gd name="connsiteY8" fmla="*/ 627089 h 634856"/>
              <a:gd name="connsiteX9" fmla="*/ 2544425 w 3594416"/>
              <a:gd name="connsiteY9" fmla="*/ 634856 h 634856"/>
              <a:gd name="connsiteX10" fmla="*/ 0 w 3594416"/>
              <a:gd name="connsiteY10" fmla="*/ 634856 h 634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94416" h="634856">
                <a:moveTo>
                  <a:pt x="0" y="0"/>
                </a:moveTo>
                <a:lnTo>
                  <a:pt x="3594416" y="0"/>
                </a:lnTo>
                <a:lnTo>
                  <a:pt x="3594416" y="634856"/>
                </a:lnTo>
                <a:lnTo>
                  <a:pt x="3421318" y="634856"/>
                </a:lnTo>
                <a:lnTo>
                  <a:pt x="3423729" y="627089"/>
                </a:lnTo>
                <a:cubicBezTo>
                  <a:pt x="3429723" y="597795"/>
                  <a:pt x="3432871" y="567464"/>
                  <a:pt x="3432871" y="536398"/>
                </a:cubicBezTo>
                <a:cubicBezTo>
                  <a:pt x="3432871" y="287870"/>
                  <a:pt x="3231399" y="86398"/>
                  <a:pt x="2982871" y="86398"/>
                </a:cubicBezTo>
                <a:cubicBezTo>
                  <a:pt x="2734343" y="86398"/>
                  <a:pt x="2532871" y="287870"/>
                  <a:pt x="2532871" y="536398"/>
                </a:cubicBezTo>
                <a:cubicBezTo>
                  <a:pt x="2532871" y="567464"/>
                  <a:pt x="2536019" y="597795"/>
                  <a:pt x="2542014" y="627089"/>
                </a:cubicBezTo>
                <a:lnTo>
                  <a:pt x="2544425" y="634856"/>
                </a:lnTo>
                <a:lnTo>
                  <a:pt x="0" y="63485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234000" tIns="0" rIns="23400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 noProof="0"/>
              <a:t>X %</a:t>
            </a:r>
          </a:p>
        </p:txBody>
      </p:sp>
      <p:sp>
        <p:nvSpPr>
          <p:cNvPr id="41" name="Espace réservé du texte 69">
            <a:extLst>
              <a:ext uri="{FF2B5EF4-FFF2-40B4-BE49-F238E27FC236}">
                <a16:creationId xmlns:a16="http://schemas.microsoft.com/office/drawing/2014/main" id="{583FD332-2B64-4C83-8DB6-42862245A26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046200" y="3990904"/>
            <a:ext cx="3594416" cy="634856"/>
          </a:xfrm>
          <a:custGeom>
            <a:avLst/>
            <a:gdLst>
              <a:gd name="connsiteX0" fmla="*/ 0 w 3594416"/>
              <a:gd name="connsiteY0" fmla="*/ 0 h 634856"/>
              <a:gd name="connsiteX1" fmla="*/ 3594416 w 3594416"/>
              <a:gd name="connsiteY1" fmla="*/ 0 h 634856"/>
              <a:gd name="connsiteX2" fmla="*/ 3594416 w 3594416"/>
              <a:gd name="connsiteY2" fmla="*/ 634856 h 634856"/>
              <a:gd name="connsiteX3" fmla="*/ 3413843 w 3594416"/>
              <a:gd name="connsiteY3" fmla="*/ 634856 h 634856"/>
              <a:gd name="connsiteX4" fmla="*/ 3416255 w 3594416"/>
              <a:gd name="connsiteY4" fmla="*/ 627089 h 634856"/>
              <a:gd name="connsiteX5" fmla="*/ 3425397 w 3594416"/>
              <a:gd name="connsiteY5" fmla="*/ 536398 h 634856"/>
              <a:gd name="connsiteX6" fmla="*/ 2975397 w 3594416"/>
              <a:gd name="connsiteY6" fmla="*/ 86398 h 634856"/>
              <a:gd name="connsiteX7" fmla="*/ 2525397 w 3594416"/>
              <a:gd name="connsiteY7" fmla="*/ 536398 h 634856"/>
              <a:gd name="connsiteX8" fmla="*/ 2534539 w 3594416"/>
              <a:gd name="connsiteY8" fmla="*/ 627089 h 634856"/>
              <a:gd name="connsiteX9" fmla="*/ 2536951 w 3594416"/>
              <a:gd name="connsiteY9" fmla="*/ 634856 h 634856"/>
              <a:gd name="connsiteX10" fmla="*/ 0 w 3594416"/>
              <a:gd name="connsiteY10" fmla="*/ 634856 h 634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94416" h="634856">
                <a:moveTo>
                  <a:pt x="0" y="0"/>
                </a:moveTo>
                <a:lnTo>
                  <a:pt x="3594416" y="0"/>
                </a:lnTo>
                <a:lnTo>
                  <a:pt x="3594416" y="634856"/>
                </a:lnTo>
                <a:lnTo>
                  <a:pt x="3413843" y="634856"/>
                </a:lnTo>
                <a:lnTo>
                  <a:pt x="3416255" y="627089"/>
                </a:lnTo>
                <a:cubicBezTo>
                  <a:pt x="3422249" y="597795"/>
                  <a:pt x="3425397" y="567464"/>
                  <a:pt x="3425397" y="536398"/>
                </a:cubicBezTo>
                <a:cubicBezTo>
                  <a:pt x="3425397" y="287870"/>
                  <a:pt x="3223925" y="86398"/>
                  <a:pt x="2975397" y="86398"/>
                </a:cubicBezTo>
                <a:cubicBezTo>
                  <a:pt x="2726869" y="86398"/>
                  <a:pt x="2525397" y="287870"/>
                  <a:pt x="2525397" y="536398"/>
                </a:cubicBezTo>
                <a:cubicBezTo>
                  <a:pt x="2525397" y="567464"/>
                  <a:pt x="2528545" y="597795"/>
                  <a:pt x="2534539" y="627089"/>
                </a:cubicBezTo>
                <a:lnTo>
                  <a:pt x="2536951" y="634856"/>
                </a:lnTo>
                <a:lnTo>
                  <a:pt x="0" y="634856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234000" tIns="0" rIns="23400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 noProof="0"/>
              <a:t>X %</a:t>
            </a:r>
          </a:p>
        </p:txBody>
      </p:sp>
      <p:sp>
        <p:nvSpPr>
          <p:cNvPr id="42" name="Espace réservé pour une image  9">
            <a:extLst>
              <a:ext uri="{FF2B5EF4-FFF2-40B4-BE49-F238E27FC236}">
                <a16:creationId xmlns:a16="http://schemas.microsoft.com/office/drawing/2014/main" id="{44EF7399-105D-41F5-A6EB-9D9D816BF01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176444" y="4172162"/>
            <a:ext cx="710280" cy="71028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lIns="180000" tIns="180000" rIns="180000" bIns="180000"/>
          <a:lstStyle>
            <a:lvl1pPr marL="0" indent="0" algn="ctr">
              <a:buNone/>
              <a:defRPr sz="500" b="1">
                <a:solidFill>
                  <a:schemeClr val="bg1"/>
                </a:solidFill>
              </a:defRPr>
            </a:lvl1pPr>
          </a:lstStyle>
          <a:p>
            <a:r>
              <a:rPr lang="fr-CA" noProof="0"/>
              <a:t>Icon</a:t>
            </a:r>
          </a:p>
        </p:txBody>
      </p:sp>
      <p:sp>
        <p:nvSpPr>
          <p:cNvPr id="43" name="Espace réservé pour une image  9">
            <a:extLst>
              <a:ext uri="{FF2B5EF4-FFF2-40B4-BE49-F238E27FC236}">
                <a16:creationId xmlns:a16="http://schemas.microsoft.com/office/drawing/2014/main" id="{F58D3B29-98C5-4BCB-B363-B78571C2538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921450" y="4172162"/>
            <a:ext cx="710280" cy="71028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lIns="180000" tIns="180000" rIns="180000" bIns="180000"/>
          <a:lstStyle>
            <a:lvl1pPr marL="0" indent="0" algn="ctr">
              <a:buNone/>
              <a:defRPr sz="500" b="1">
                <a:solidFill>
                  <a:schemeClr val="bg1"/>
                </a:solidFill>
              </a:defRPr>
            </a:lvl1pPr>
          </a:lstStyle>
          <a:p>
            <a:r>
              <a:rPr lang="fr-CA" noProof="0"/>
              <a:t>Icon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FC744251-311F-4DE7-A41E-F4F6241AECB7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10666456" y="4172162"/>
            <a:ext cx="710280" cy="71028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lIns="180000" tIns="180000" rIns="180000" bIns="180000"/>
          <a:lstStyle>
            <a:lvl1pPr marL="0" indent="0" algn="ctr">
              <a:buNone/>
              <a:defRPr sz="500" b="1">
                <a:solidFill>
                  <a:schemeClr val="bg1"/>
                </a:solidFill>
              </a:defRPr>
            </a:lvl1pPr>
          </a:lstStyle>
          <a:p>
            <a:r>
              <a:rPr lang="fr-CA" noProof="0"/>
              <a:t>Icon</a:t>
            </a:r>
          </a:p>
        </p:txBody>
      </p:sp>
      <p:sp>
        <p:nvSpPr>
          <p:cNvPr id="45" name="Espace réservé du contenu 57">
            <a:extLst>
              <a:ext uri="{FF2B5EF4-FFF2-40B4-BE49-F238E27FC236}">
                <a16:creationId xmlns:a16="http://schemas.microsoft.com/office/drawing/2014/main" id="{8E170A23-9510-4183-BB40-0B0400430B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51385" y="2249496"/>
            <a:ext cx="3594416" cy="1539544"/>
          </a:xfrm>
          <a:custGeom>
            <a:avLst/>
            <a:gdLst>
              <a:gd name="connsiteX0" fmla="*/ 0 w 3594416"/>
              <a:gd name="connsiteY0" fmla="*/ 0 h 1539544"/>
              <a:gd name="connsiteX1" fmla="*/ 2552148 w 3594416"/>
              <a:gd name="connsiteY1" fmla="*/ 0 h 1539544"/>
              <a:gd name="connsiteX2" fmla="*/ 2575707 w 3594416"/>
              <a:gd name="connsiteY2" fmla="*/ 75897 h 1539544"/>
              <a:gd name="connsiteX3" fmla="*/ 2990344 w 3594416"/>
              <a:gd name="connsiteY3" fmla="*/ 350737 h 1539544"/>
              <a:gd name="connsiteX4" fmla="*/ 3404981 w 3594416"/>
              <a:gd name="connsiteY4" fmla="*/ 75897 h 1539544"/>
              <a:gd name="connsiteX5" fmla="*/ 3428541 w 3594416"/>
              <a:gd name="connsiteY5" fmla="*/ 0 h 1539544"/>
              <a:gd name="connsiteX6" fmla="*/ 3594416 w 3594416"/>
              <a:gd name="connsiteY6" fmla="*/ 0 h 1539544"/>
              <a:gd name="connsiteX7" fmla="*/ 3594416 w 3594416"/>
              <a:gd name="connsiteY7" fmla="*/ 1539544 h 1539544"/>
              <a:gd name="connsiteX8" fmla="*/ 0 w 3594416"/>
              <a:gd name="connsiteY8" fmla="*/ 1539544 h 153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94416" h="1539544">
                <a:moveTo>
                  <a:pt x="0" y="0"/>
                </a:moveTo>
                <a:lnTo>
                  <a:pt x="2552148" y="0"/>
                </a:lnTo>
                <a:lnTo>
                  <a:pt x="2575707" y="75897"/>
                </a:lnTo>
                <a:cubicBezTo>
                  <a:pt x="2644021" y="237409"/>
                  <a:pt x="2803948" y="350737"/>
                  <a:pt x="2990344" y="350737"/>
                </a:cubicBezTo>
                <a:cubicBezTo>
                  <a:pt x="3176740" y="350737"/>
                  <a:pt x="3336667" y="237409"/>
                  <a:pt x="3404981" y="75897"/>
                </a:cubicBezTo>
                <a:lnTo>
                  <a:pt x="3428541" y="0"/>
                </a:lnTo>
                <a:lnTo>
                  <a:pt x="3594416" y="0"/>
                </a:lnTo>
                <a:lnTo>
                  <a:pt x="3594416" y="1539544"/>
                </a:lnTo>
                <a:lnTo>
                  <a:pt x="0" y="1539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360000" rIns="144000" bIns="72000">
            <a:noAutofit/>
          </a:bodyPr>
          <a:lstStyle>
            <a:lvl1pPr marL="90000" indent="-90000">
              <a:spcBef>
                <a:spcPts val="800"/>
              </a:spcBef>
              <a:buSzPct val="25000"/>
              <a:buFont typeface="Arial" panose="020B0604020202020204" pitchFamily="34" charset="0"/>
              <a:buChar char=" "/>
              <a:defRPr sz="1800"/>
            </a:lvl1pPr>
            <a:lvl2pPr>
              <a:spcBef>
                <a:spcPts val="400"/>
              </a:spcBef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fr-CA" noProof="0"/>
              <a:t>Cliquez pour modifier le texte</a:t>
            </a:r>
          </a:p>
          <a:p>
            <a:pPr lvl="1"/>
            <a:r>
              <a:rPr lang="fr-CA" noProof="0"/>
              <a:t>Deuxième niveau</a:t>
            </a:r>
          </a:p>
        </p:txBody>
      </p:sp>
      <p:sp>
        <p:nvSpPr>
          <p:cNvPr id="46" name="Espace réservé du contenu 60">
            <a:extLst>
              <a:ext uri="{FF2B5EF4-FFF2-40B4-BE49-F238E27FC236}">
                <a16:creationId xmlns:a16="http://schemas.microsoft.com/office/drawing/2014/main" id="{4E4BB910-6F14-49C0-9389-3C5CDC1B54F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4298793" y="2249496"/>
            <a:ext cx="3594416" cy="1539544"/>
          </a:xfrm>
          <a:custGeom>
            <a:avLst/>
            <a:gdLst>
              <a:gd name="connsiteX0" fmla="*/ 0 w 3594416"/>
              <a:gd name="connsiteY0" fmla="*/ 0 h 1539544"/>
              <a:gd name="connsiteX1" fmla="*/ 2544675 w 3594416"/>
              <a:gd name="connsiteY1" fmla="*/ 0 h 1539544"/>
              <a:gd name="connsiteX2" fmla="*/ 2568234 w 3594416"/>
              <a:gd name="connsiteY2" fmla="*/ 75897 h 1539544"/>
              <a:gd name="connsiteX3" fmla="*/ 2982871 w 3594416"/>
              <a:gd name="connsiteY3" fmla="*/ 350737 h 1539544"/>
              <a:gd name="connsiteX4" fmla="*/ 3397508 w 3594416"/>
              <a:gd name="connsiteY4" fmla="*/ 75897 h 1539544"/>
              <a:gd name="connsiteX5" fmla="*/ 3421068 w 3594416"/>
              <a:gd name="connsiteY5" fmla="*/ 0 h 1539544"/>
              <a:gd name="connsiteX6" fmla="*/ 3594416 w 3594416"/>
              <a:gd name="connsiteY6" fmla="*/ 0 h 1539544"/>
              <a:gd name="connsiteX7" fmla="*/ 3594416 w 3594416"/>
              <a:gd name="connsiteY7" fmla="*/ 1539544 h 1539544"/>
              <a:gd name="connsiteX8" fmla="*/ 0 w 3594416"/>
              <a:gd name="connsiteY8" fmla="*/ 1539544 h 153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94416" h="1539544">
                <a:moveTo>
                  <a:pt x="0" y="0"/>
                </a:moveTo>
                <a:lnTo>
                  <a:pt x="2544675" y="0"/>
                </a:lnTo>
                <a:lnTo>
                  <a:pt x="2568234" y="75897"/>
                </a:lnTo>
                <a:cubicBezTo>
                  <a:pt x="2636548" y="237409"/>
                  <a:pt x="2796475" y="350737"/>
                  <a:pt x="2982871" y="350737"/>
                </a:cubicBezTo>
                <a:cubicBezTo>
                  <a:pt x="3169267" y="350737"/>
                  <a:pt x="3329194" y="237409"/>
                  <a:pt x="3397508" y="75897"/>
                </a:cubicBezTo>
                <a:lnTo>
                  <a:pt x="3421068" y="0"/>
                </a:lnTo>
                <a:lnTo>
                  <a:pt x="3594416" y="0"/>
                </a:lnTo>
                <a:lnTo>
                  <a:pt x="3594416" y="1539544"/>
                </a:lnTo>
                <a:lnTo>
                  <a:pt x="0" y="1539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360000" rIns="144000" bIns="72000">
            <a:noAutofit/>
          </a:bodyPr>
          <a:lstStyle>
            <a:lvl1pPr marL="90000" indent="-90000">
              <a:spcBef>
                <a:spcPts val="800"/>
              </a:spcBef>
              <a:buFont typeface="Arial" panose="020B0604020202020204" pitchFamily="34" charset="0"/>
              <a:buChar char=" "/>
              <a:defRPr lang="en-CA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400"/>
              </a:spcBef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fr-CA" noProof="0"/>
              <a:t>Cliquez pour modifier le texte</a:t>
            </a:r>
          </a:p>
          <a:p>
            <a:pPr lvl="1"/>
            <a:r>
              <a:rPr lang="fr-CA" noProof="0"/>
              <a:t>Deuxième niveau</a:t>
            </a:r>
          </a:p>
        </p:txBody>
      </p:sp>
      <p:sp>
        <p:nvSpPr>
          <p:cNvPr id="47" name="Espace réservé du contenu 63">
            <a:extLst>
              <a:ext uri="{FF2B5EF4-FFF2-40B4-BE49-F238E27FC236}">
                <a16:creationId xmlns:a16="http://schemas.microsoft.com/office/drawing/2014/main" id="{1E86E264-2215-4444-8CD1-D5B2A886534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8046200" y="2249496"/>
            <a:ext cx="3594416" cy="1539544"/>
          </a:xfrm>
          <a:custGeom>
            <a:avLst/>
            <a:gdLst>
              <a:gd name="connsiteX0" fmla="*/ 0 w 3594416"/>
              <a:gd name="connsiteY0" fmla="*/ 0 h 1539544"/>
              <a:gd name="connsiteX1" fmla="*/ 2537200 w 3594416"/>
              <a:gd name="connsiteY1" fmla="*/ 0 h 1539544"/>
              <a:gd name="connsiteX2" fmla="*/ 2560760 w 3594416"/>
              <a:gd name="connsiteY2" fmla="*/ 75897 h 1539544"/>
              <a:gd name="connsiteX3" fmla="*/ 2975397 w 3594416"/>
              <a:gd name="connsiteY3" fmla="*/ 350737 h 1539544"/>
              <a:gd name="connsiteX4" fmla="*/ 3390034 w 3594416"/>
              <a:gd name="connsiteY4" fmla="*/ 75897 h 1539544"/>
              <a:gd name="connsiteX5" fmla="*/ 3413594 w 3594416"/>
              <a:gd name="connsiteY5" fmla="*/ 0 h 1539544"/>
              <a:gd name="connsiteX6" fmla="*/ 3594416 w 3594416"/>
              <a:gd name="connsiteY6" fmla="*/ 0 h 1539544"/>
              <a:gd name="connsiteX7" fmla="*/ 3594416 w 3594416"/>
              <a:gd name="connsiteY7" fmla="*/ 1539544 h 1539544"/>
              <a:gd name="connsiteX8" fmla="*/ 0 w 3594416"/>
              <a:gd name="connsiteY8" fmla="*/ 1539544 h 153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94416" h="1539544">
                <a:moveTo>
                  <a:pt x="0" y="0"/>
                </a:moveTo>
                <a:lnTo>
                  <a:pt x="2537200" y="0"/>
                </a:lnTo>
                <a:lnTo>
                  <a:pt x="2560760" y="75897"/>
                </a:lnTo>
                <a:cubicBezTo>
                  <a:pt x="2629074" y="237409"/>
                  <a:pt x="2789001" y="350737"/>
                  <a:pt x="2975397" y="350737"/>
                </a:cubicBezTo>
                <a:cubicBezTo>
                  <a:pt x="3161793" y="350737"/>
                  <a:pt x="3321720" y="237409"/>
                  <a:pt x="3390034" y="75897"/>
                </a:cubicBezTo>
                <a:lnTo>
                  <a:pt x="3413594" y="0"/>
                </a:lnTo>
                <a:lnTo>
                  <a:pt x="3594416" y="0"/>
                </a:lnTo>
                <a:lnTo>
                  <a:pt x="3594416" y="1539544"/>
                </a:lnTo>
                <a:lnTo>
                  <a:pt x="0" y="15395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44000" tIns="360000" rIns="144000" bIns="72000">
            <a:noAutofit/>
          </a:bodyPr>
          <a:lstStyle>
            <a:lvl1pPr marL="90000" indent="-90000">
              <a:spcBef>
                <a:spcPts val="800"/>
              </a:spcBef>
              <a:buSzPct val="25000"/>
              <a:buFont typeface="Arial" panose="020B0604020202020204" pitchFamily="34" charset="0"/>
              <a:buChar char=" "/>
              <a:defRPr sz="1800"/>
            </a:lvl1pPr>
            <a:lvl2pPr>
              <a:spcBef>
                <a:spcPts val="400"/>
              </a:spcBef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fr-CA" noProof="0"/>
              <a:t>Cliquez pour modifier le texte</a:t>
            </a:r>
          </a:p>
          <a:p>
            <a:pPr lvl="1"/>
            <a:r>
              <a:rPr lang="fr-CA" noProof="0"/>
              <a:t>Deuxième niveau</a:t>
            </a:r>
          </a:p>
        </p:txBody>
      </p:sp>
      <p:sp>
        <p:nvSpPr>
          <p:cNvPr id="48" name="Espace réservé du texte 55">
            <a:extLst>
              <a:ext uri="{FF2B5EF4-FFF2-40B4-BE49-F238E27FC236}">
                <a16:creationId xmlns:a16="http://schemas.microsoft.com/office/drawing/2014/main" id="{7BA3FEF3-3083-447C-826C-C1D142BC2FD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51385" y="1614640"/>
            <a:ext cx="3594416" cy="634856"/>
          </a:xfrm>
          <a:custGeom>
            <a:avLst/>
            <a:gdLst>
              <a:gd name="connsiteX0" fmla="*/ 0 w 3594416"/>
              <a:gd name="connsiteY0" fmla="*/ 0 h 634856"/>
              <a:gd name="connsiteX1" fmla="*/ 3594416 w 3594416"/>
              <a:gd name="connsiteY1" fmla="*/ 0 h 634856"/>
              <a:gd name="connsiteX2" fmla="*/ 3594416 w 3594416"/>
              <a:gd name="connsiteY2" fmla="*/ 634856 h 634856"/>
              <a:gd name="connsiteX3" fmla="*/ 3428791 w 3594416"/>
              <a:gd name="connsiteY3" fmla="*/ 634856 h 634856"/>
              <a:gd name="connsiteX4" fmla="*/ 3431202 w 3594416"/>
              <a:gd name="connsiteY4" fmla="*/ 627089 h 634856"/>
              <a:gd name="connsiteX5" fmla="*/ 3440344 w 3594416"/>
              <a:gd name="connsiteY5" fmla="*/ 536398 h 634856"/>
              <a:gd name="connsiteX6" fmla="*/ 2990344 w 3594416"/>
              <a:gd name="connsiteY6" fmla="*/ 86398 h 634856"/>
              <a:gd name="connsiteX7" fmla="*/ 2540344 w 3594416"/>
              <a:gd name="connsiteY7" fmla="*/ 536398 h 634856"/>
              <a:gd name="connsiteX8" fmla="*/ 2549487 w 3594416"/>
              <a:gd name="connsiteY8" fmla="*/ 627089 h 634856"/>
              <a:gd name="connsiteX9" fmla="*/ 2551898 w 3594416"/>
              <a:gd name="connsiteY9" fmla="*/ 634856 h 634856"/>
              <a:gd name="connsiteX10" fmla="*/ 0 w 3594416"/>
              <a:gd name="connsiteY10" fmla="*/ 634856 h 634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94416" h="634856">
                <a:moveTo>
                  <a:pt x="0" y="0"/>
                </a:moveTo>
                <a:lnTo>
                  <a:pt x="3594416" y="0"/>
                </a:lnTo>
                <a:lnTo>
                  <a:pt x="3594416" y="634856"/>
                </a:lnTo>
                <a:lnTo>
                  <a:pt x="3428791" y="634856"/>
                </a:lnTo>
                <a:lnTo>
                  <a:pt x="3431202" y="627089"/>
                </a:lnTo>
                <a:cubicBezTo>
                  <a:pt x="3437196" y="597795"/>
                  <a:pt x="3440344" y="567464"/>
                  <a:pt x="3440344" y="536398"/>
                </a:cubicBezTo>
                <a:cubicBezTo>
                  <a:pt x="3440344" y="287870"/>
                  <a:pt x="3238872" y="86398"/>
                  <a:pt x="2990344" y="86398"/>
                </a:cubicBezTo>
                <a:cubicBezTo>
                  <a:pt x="2741816" y="86398"/>
                  <a:pt x="2540344" y="287870"/>
                  <a:pt x="2540344" y="536398"/>
                </a:cubicBezTo>
                <a:cubicBezTo>
                  <a:pt x="2540344" y="567464"/>
                  <a:pt x="2543492" y="597795"/>
                  <a:pt x="2549487" y="627089"/>
                </a:cubicBezTo>
                <a:lnTo>
                  <a:pt x="2551898" y="634856"/>
                </a:lnTo>
                <a:lnTo>
                  <a:pt x="0" y="63485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234000" tIns="0" rIns="23400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 noProof="0"/>
              <a:t>X %</a:t>
            </a:r>
          </a:p>
        </p:txBody>
      </p:sp>
      <p:sp>
        <p:nvSpPr>
          <p:cNvPr id="49" name="Espace réservé du texte 58">
            <a:extLst>
              <a:ext uri="{FF2B5EF4-FFF2-40B4-BE49-F238E27FC236}">
                <a16:creationId xmlns:a16="http://schemas.microsoft.com/office/drawing/2014/main" id="{430CE87F-EC80-42FD-8D41-0AC58D789B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298793" y="1614640"/>
            <a:ext cx="3594416" cy="634856"/>
          </a:xfrm>
          <a:custGeom>
            <a:avLst/>
            <a:gdLst>
              <a:gd name="connsiteX0" fmla="*/ 0 w 3594416"/>
              <a:gd name="connsiteY0" fmla="*/ 0 h 634856"/>
              <a:gd name="connsiteX1" fmla="*/ 3594416 w 3594416"/>
              <a:gd name="connsiteY1" fmla="*/ 0 h 634856"/>
              <a:gd name="connsiteX2" fmla="*/ 3594416 w 3594416"/>
              <a:gd name="connsiteY2" fmla="*/ 634856 h 634856"/>
              <a:gd name="connsiteX3" fmla="*/ 3421318 w 3594416"/>
              <a:gd name="connsiteY3" fmla="*/ 634856 h 634856"/>
              <a:gd name="connsiteX4" fmla="*/ 3423729 w 3594416"/>
              <a:gd name="connsiteY4" fmla="*/ 627089 h 634856"/>
              <a:gd name="connsiteX5" fmla="*/ 3432871 w 3594416"/>
              <a:gd name="connsiteY5" fmla="*/ 536398 h 634856"/>
              <a:gd name="connsiteX6" fmla="*/ 2982871 w 3594416"/>
              <a:gd name="connsiteY6" fmla="*/ 86398 h 634856"/>
              <a:gd name="connsiteX7" fmla="*/ 2532871 w 3594416"/>
              <a:gd name="connsiteY7" fmla="*/ 536398 h 634856"/>
              <a:gd name="connsiteX8" fmla="*/ 2542014 w 3594416"/>
              <a:gd name="connsiteY8" fmla="*/ 627089 h 634856"/>
              <a:gd name="connsiteX9" fmla="*/ 2544425 w 3594416"/>
              <a:gd name="connsiteY9" fmla="*/ 634856 h 634856"/>
              <a:gd name="connsiteX10" fmla="*/ 0 w 3594416"/>
              <a:gd name="connsiteY10" fmla="*/ 634856 h 634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94416" h="634856">
                <a:moveTo>
                  <a:pt x="0" y="0"/>
                </a:moveTo>
                <a:lnTo>
                  <a:pt x="3594416" y="0"/>
                </a:lnTo>
                <a:lnTo>
                  <a:pt x="3594416" y="634856"/>
                </a:lnTo>
                <a:lnTo>
                  <a:pt x="3421318" y="634856"/>
                </a:lnTo>
                <a:lnTo>
                  <a:pt x="3423729" y="627089"/>
                </a:lnTo>
                <a:cubicBezTo>
                  <a:pt x="3429723" y="597795"/>
                  <a:pt x="3432871" y="567464"/>
                  <a:pt x="3432871" y="536398"/>
                </a:cubicBezTo>
                <a:cubicBezTo>
                  <a:pt x="3432871" y="287870"/>
                  <a:pt x="3231399" y="86398"/>
                  <a:pt x="2982871" y="86398"/>
                </a:cubicBezTo>
                <a:cubicBezTo>
                  <a:pt x="2734343" y="86398"/>
                  <a:pt x="2532871" y="287870"/>
                  <a:pt x="2532871" y="536398"/>
                </a:cubicBezTo>
                <a:cubicBezTo>
                  <a:pt x="2532871" y="567464"/>
                  <a:pt x="2536019" y="597795"/>
                  <a:pt x="2542014" y="627089"/>
                </a:cubicBezTo>
                <a:lnTo>
                  <a:pt x="2544425" y="634856"/>
                </a:lnTo>
                <a:lnTo>
                  <a:pt x="0" y="63485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234000" tIns="0" rIns="23400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 noProof="0"/>
              <a:t>X %</a:t>
            </a:r>
          </a:p>
        </p:txBody>
      </p:sp>
      <p:sp>
        <p:nvSpPr>
          <p:cNvPr id="50" name="Espace réservé du texte 61">
            <a:extLst>
              <a:ext uri="{FF2B5EF4-FFF2-40B4-BE49-F238E27FC236}">
                <a16:creationId xmlns:a16="http://schemas.microsoft.com/office/drawing/2014/main" id="{7612F576-6077-41BA-AF77-A3A22B8E93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46200" y="1614640"/>
            <a:ext cx="3594416" cy="634856"/>
          </a:xfrm>
          <a:custGeom>
            <a:avLst/>
            <a:gdLst>
              <a:gd name="connsiteX0" fmla="*/ 0 w 3594416"/>
              <a:gd name="connsiteY0" fmla="*/ 0 h 634856"/>
              <a:gd name="connsiteX1" fmla="*/ 3594416 w 3594416"/>
              <a:gd name="connsiteY1" fmla="*/ 0 h 634856"/>
              <a:gd name="connsiteX2" fmla="*/ 3594416 w 3594416"/>
              <a:gd name="connsiteY2" fmla="*/ 634856 h 634856"/>
              <a:gd name="connsiteX3" fmla="*/ 3413843 w 3594416"/>
              <a:gd name="connsiteY3" fmla="*/ 634856 h 634856"/>
              <a:gd name="connsiteX4" fmla="*/ 3416255 w 3594416"/>
              <a:gd name="connsiteY4" fmla="*/ 627089 h 634856"/>
              <a:gd name="connsiteX5" fmla="*/ 3425397 w 3594416"/>
              <a:gd name="connsiteY5" fmla="*/ 536398 h 634856"/>
              <a:gd name="connsiteX6" fmla="*/ 2975397 w 3594416"/>
              <a:gd name="connsiteY6" fmla="*/ 86398 h 634856"/>
              <a:gd name="connsiteX7" fmla="*/ 2525397 w 3594416"/>
              <a:gd name="connsiteY7" fmla="*/ 536398 h 634856"/>
              <a:gd name="connsiteX8" fmla="*/ 2534539 w 3594416"/>
              <a:gd name="connsiteY8" fmla="*/ 627089 h 634856"/>
              <a:gd name="connsiteX9" fmla="*/ 2536951 w 3594416"/>
              <a:gd name="connsiteY9" fmla="*/ 634856 h 634856"/>
              <a:gd name="connsiteX10" fmla="*/ 0 w 3594416"/>
              <a:gd name="connsiteY10" fmla="*/ 634856 h 634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594416" h="634856">
                <a:moveTo>
                  <a:pt x="0" y="0"/>
                </a:moveTo>
                <a:lnTo>
                  <a:pt x="3594416" y="0"/>
                </a:lnTo>
                <a:lnTo>
                  <a:pt x="3594416" y="634856"/>
                </a:lnTo>
                <a:lnTo>
                  <a:pt x="3413843" y="634856"/>
                </a:lnTo>
                <a:lnTo>
                  <a:pt x="3416255" y="627089"/>
                </a:lnTo>
                <a:cubicBezTo>
                  <a:pt x="3422249" y="597795"/>
                  <a:pt x="3425397" y="567464"/>
                  <a:pt x="3425397" y="536398"/>
                </a:cubicBezTo>
                <a:cubicBezTo>
                  <a:pt x="3425397" y="287870"/>
                  <a:pt x="3223925" y="86398"/>
                  <a:pt x="2975397" y="86398"/>
                </a:cubicBezTo>
                <a:cubicBezTo>
                  <a:pt x="2726869" y="86398"/>
                  <a:pt x="2525397" y="287870"/>
                  <a:pt x="2525397" y="536398"/>
                </a:cubicBezTo>
                <a:cubicBezTo>
                  <a:pt x="2525397" y="567464"/>
                  <a:pt x="2528545" y="597795"/>
                  <a:pt x="2534539" y="627089"/>
                </a:cubicBezTo>
                <a:lnTo>
                  <a:pt x="2536951" y="634856"/>
                </a:lnTo>
                <a:lnTo>
                  <a:pt x="0" y="634856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234000" tIns="0" rIns="234000" bIns="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CA" noProof="0"/>
              <a:t>X %</a:t>
            </a:r>
          </a:p>
        </p:txBody>
      </p:sp>
      <p:sp>
        <p:nvSpPr>
          <p:cNvPr id="51" name="Espace réservé pour une image  9">
            <a:extLst>
              <a:ext uri="{FF2B5EF4-FFF2-40B4-BE49-F238E27FC236}">
                <a16:creationId xmlns:a16="http://schemas.microsoft.com/office/drawing/2014/main" id="{20581034-04EF-468E-942A-7A2BAC62F54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176445" y="1795898"/>
            <a:ext cx="710280" cy="71028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lIns="180000" tIns="180000" rIns="180000" bIns="180000"/>
          <a:lstStyle>
            <a:lvl1pPr marL="0" indent="0" algn="ctr">
              <a:buNone/>
              <a:defRPr sz="500" b="1">
                <a:solidFill>
                  <a:schemeClr val="bg1"/>
                </a:solidFill>
              </a:defRPr>
            </a:lvl1pPr>
          </a:lstStyle>
          <a:p>
            <a:r>
              <a:rPr lang="fr-CA" noProof="0"/>
              <a:t>Icon</a:t>
            </a:r>
          </a:p>
        </p:txBody>
      </p:sp>
      <p:sp>
        <p:nvSpPr>
          <p:cNvPr id="52" name="Espace réservé pour une image  9">
            <a:extLst>
              <a:ext uri="{FF2B5EF4-FFF2-40B4-BE49-F238E27FC236}">
                <a16:creationId xmlns:a16="http://schemas.microsoft.com/office/drawing/2014/main" id="{391223BD-F297-4574-9AAE-37ED125AF51E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921451" y="1795898"/>
            <a:ext cx="710280" cy="71028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lIns="180000" tIns="180000" rIns="180000" bIns="180000"/>
          <a:lstStyle>
            <a:lvl1pPr marL="0" indent="0" algn="ctr">
              <a:buNone/>
              <a:defRPr sz="500" b="1">
                <a:solidFill>
                  <a:schemeClr val="bg1"/>
                </a:solidFill>
              </a:defRPr>
            </a:lvl1pPr>
          </a:lstStyle>
          <a:p>
            <a:r>
              <a:rPr lang="fr-CA" noProof="0"/>
              <a:t>Icon</a:t>
            </a:r>
          </a:p>
        </p:txBody>
      </p:sp>
      <p:sp>
        <p:nvSpPr>
          <p:cNvPr id="53" name="Espace réservé pour une image  9">
            <a:extLst>
              <a:ext uri="{FF2B5EF4-FFF2-40B4-BE49-F238E27FC236}">
                <a16:creationId xmlns:a16="http://schemas.microsoft.com/office/drawing/2014/main" id="{4A9D33FD-CD09-4856-8FFF-90FD2734D917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10666457" y="1795898"/>
            <a:ext cx="710280" cy="71028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txBody>
          <a:bodyPr lIns="180000" tIns="180000" rIns="180000" bIns="180000"/>
          <a:lstStyle>
            <a:lvl1pPr marL="0" indent="0" algn="ctr">
              <a:buNone/>
              <a:defRPr sz="500" b="1">
                <a:solidFill>
                  <a:schemeClr val="bg1"/>
                </a:solidFill>
              </a:defRPr>
            </a:lvl1pPr>
          </a:lstStyle>
          <a:p>
            <a:r>
              <a:rPr lang="fr-CA" noProof="0"/>
              <a:t>Icon</a:t>
            </a:r>
          </a:p>
        </p:txBody>
      </p:sp>
      <p:sp>
        <p:nvSpPr>
          <p:cNvPr id="54" name="Espace réservé du texte 8">
            <a:extLst>
              <a:ext uri="{FF2B5EF4-FFF2-40B4-BE49-F238E27FC236}">
                <a16:creationId xmlns:a16="http://schemas.microsoft.com/office/drawing/2014/main" id="{21083667-21A3-4494-B37E-D047F9389D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55" name="Espace réservé du texte 13">
            <a:extLst>
              <a:ext uri="{FF2B5EF4-FFF2-40B4-BE49-F238E27FC236}">
                <a16:creationId xmlns:a16="http://schemas.microsoft.com/office/drawing/2014/main" id="{EA73239B-DB16-4C85-B119-A2C224937E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9D5B638-8113-4E8A-9C1B-3E02B1491CF6}"/>
              </a:ext>
            </a:extLst>
          </p:cNvPr>
          <p:cNvSpPr/>
          <p:nvPr userDrawn="1"/>
        </p:nvSpPr>
        <p:spPr>
          <a:xfrm>
            <a:off x="6579941" y="1646440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7925E39A-9E7C-4B56-8D7E-E7BE5569FEA7}"/>
              </a:ext>
            </a:extLst>
          </p:cNvPr>
          <p:cNvSpPr/>
          <p:nvPr userDrawn="1"/>
        </p:nvSpPr>
        <p:spPr>
          <a:xfrm>
            <a:off x="10265629" y="1673498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EEA0EC3-5145-4DFC-B11C-E919FC1AA738}"/>
              </a:ext>
            </a:extLst>
          </p:cNvPr>
          <p:cNvSpPr/>
          <p:nvPr userDrawn="1"/>
        </p:nvSpPr>
        <p:spPr>
          <a:xfrm>
            <a:off x="10311402" y="4066253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3E2803CD-4D46-4BA4-A70A-090B9E36187C}"/>
              </a:ext>
            </a:extLst>
          </p:cNvPr>
          <p:cNvSpPr/>
          <p:nvPr userDrawn="1"/>
        </p:nvSpPr>
        <p:spPr>
          <a:xfrm>
            <a:off x="6568799" y="4041131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0F53F365-734E-44B8-99DA-3FF4054F2ED2}"/>
              </a:ext>
            </a:extLst>
          </p:cNvPr>
          <p:cNvSpPr/>
          <p:nvPr userDrawn="1"/>
        </p:nvSpPr>
        <p:spPr>
          <a:xfrm>
            <a:off x="2806261" y="4044776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02F776F-5A96-45E7-83EB-75DF419DCC42}"/>
              </a:ext>
            </a:extLst>
          </p:cNvPr>
          <p:cNvSpPr/>
          <p:nvPr userDrawn="1"/>
        </p:nvSpPr>
        <p:spPr>
          <a:xfrm>
            <a:off x="2870633" y="1636239"/>
            <a:ext cx="1275167" cy="1066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fr-CA" sz="1600" b="1" noProof="0"/>
          </a:p>
        </p:txBody>
      </p:sp>
    </p:spTree>
    <p:extLst>
      <p:ext uri="{BB962C8B-B14F-4D97-AF65-F5344CB8AC3E}">
        <p14:creationId xmlns:p14="http://schemas.microsoft.com/office/powerpoint/2010/main" val="173090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tu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F525D3-75BF-4247-8CA2-3B0979F098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98986AE-E7BA-4B65-A7F4-711133B8B8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C1DC9DC-B015-4B99-A421-595EB04984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89475C9-FCDF-40AC-B70F-27D2BCBE9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5E9F631D-F114-4B77-A23E-A8A2F5F2B91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51384" y="1480145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4D324AA-6392-4871-B8F2-CB18ED2F23D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52929" y="4797320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5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99F51E01-1332-4F07-8BD5-03AB7C6695F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52929" y="3138733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07BEB173-6735-473A-97EC-DED83DFA2B0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95800" y="1480145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E042E187-9E31-46E4-A31B-4CEEBBA380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97346" y="4797320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72E2DC52-8E1E-4C0D-B535-84AEC8E234BF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297345" y="3138733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A60135AB-AA4D-4781-B057-064F2463B5E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040216" y="1480145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5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8718757A-E205-4FD2-8A22-87745C6A119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041762" y="4797319"/>
            <a:ext cx="3600000" cy="1511999"/>
          </a:xfrm>
          <a:prstGeom prst="roundRect">
            <a:avLst>
              <a:gd name="adj" fmla="val 2020"/>
            </a:avLst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D754936B-2FD8-41E1-9972-5644148258B6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041762" y="3138733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BC3D5138-BBC1-4228-B34F-BCBC8BE95490}"/>
              </a:ext>
            </a:extLst>
          </p:cNvPr>
          <p:cNvCxnSpPr/>
          <p:nvPr/>
        </p:nvCxnSpPr>
        <p:spPr>
          <a:xfrm>
            <a:off x="12165801" y="29946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A230224B-D0BF-43D6-ABA0-F93CF6F01584}"/>
              </a:ext>
            </a:extLst>
          </p:cNvPr>
          <p:cNvCxnSpPr/>
          <p:nvPr/>
        </p:nvCxnSpPr>
        <p:spPr>
          <a:xfrm>
            <a:off x="12165801" y="313749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EAAAC619-0404-4BE6-8F23-DF5E5AF0BBDB}"/>
              </a:ext>
            </a:extLst>
          </p:cNvPr>
          <p:cNvCxnSpPr/>
          <p:nvPr/>
        </p:nvCxnSpPr>
        <p:spPr>
          <a:xfrm>
            <a:off x="12165801" y="465444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6130E53-CB12-49B5-8AA9-5A1484818059}"/>
              </a:ext>
            </a:extLst>
          </p:cNvPr>
          <p:cNvCxnSpPr/>
          <p:nvPr/>
        </p:nvCxnSpPr>
        <p:spPr>
          <a:xfrm>
            <a:off x="12165801" y="47973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D4640781-8155-4C9C-B2EE-D6337CD2FC7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33" name="Espace réservé du texte 13">
            <a:extLst>
              <a:ext uri="{FF2B5EF4-FFF2-40B4-BE49-F238E27FC236}">
                <a16:creationId xmlns:a16="http://schemas.microsoft.com/office/drawing/2014/main" id="{F66B1A33-F61B-49BF-88C3-ED08DCFFAD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cxnSp>
        <p:nvCxnSpPr>
          <p:cNvPr id="23" name="Connecteur droit 18">
            <a:extLst>
              <a:ext uri="{FF2B5EF4-FFF2-40B4-BE49-F238E27FC236}">
                <a16:creationId xmlns:a16="http://schemas.microsoft.com/office/drawing/2014/main" id="{C3A70066-F83B-49AB-86D1-F47127191C10}"/>
              </a:ext>
            </a:extLst>
          </p:cNvPr>
          <p:cNvCxnSpPr/>
          <p:nvPr userDrawn="1"/>
        </p:nvCxnSpPr>
        <p:spPr>
          <a:xfrm>
            <a:off x="12165801" y="29946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19">
            <a:extLst>
              <a:ext uri="{FF2B5EF4-FFF2-40B4-BE49-F238E27FC236}">
                <a16:creationId xmlns:a16="http://schemas.microsoft.com/office/drawing/2014/main" id="{BC8CB67F-D4BD-45EF-8DF4-64664C26D2F5}"/>
              </a:ext>
            </a:extLst>
          </p:cNvPr>
          <p:cNvCxnSpPr/>
          <p:nvPr userDrawn="1"/>
        </p:nvCxnSpPr>
        <p:spPr>
          <a:xfrm>
            <a:off x="12165801" y="313749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0">
            <a:extLst>
              <a:ext uri="{FF2B5EF4-FFF2-40B4-BE49-F238E27FC236}">
                <a16:creationId xmlns:a16="http://schemas.microsoft.com/office/drawing/2014/main" id="{96BC8750-CE7B-46FB-80CA-1A16A7B01FF5}"/>
              </a:ext>
            </a:extLst>
          </p:cNvPr>
          <p:cNvCxnSpPr/>
          <p:nvPr userDrawn="1"/>
        </p:nvCxnSpPr>
        <p:spPr>
          <a:xfrm>
            <a:off x="12165801" y="465444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1">
            <a:extLst>
              <a:ext uri="{FF2B5EF4-FFF2-40B4-BE49-F238E27FC236}">
                <a16:creationId xmlns:a16="http://schemas.microsoft.com/office/drawing/2014/main" id="{6492B7BA-97F0-4A32-8FE0-019C96B483FF}"/>
              </a:ext>
            </a:extLst>
          </p:cNvPr>
          <p:cNvCxnSpPr/>
          <p:nvPr userDrawn="1"/>
        </p:nvCxnSpPr>
        <p:spPr>
          <a:xfrm>
            <a:off x="12165801" y="47973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072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tuiles avec chiff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F525D3-75BF-4247-8CA2-3B0979F098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98986AE-E7BA-4B65-A7F4-711133B8B8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C1DC9DC-B015-4B99-A421-595EB04984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89475C9-FCDF-40AC-B70F-27D2BCBE9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5E9F631D-F114-4B77-A23E-A8A2F5F2B91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51384" y="1480145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C4D324AA-6392-4871-B8F2-CB18ED2F23D8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52929" y="4797320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5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99F51E01-1332-4F07-8BD5-03AB7C6695F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52929" y="3138733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07BEB173-6735-473A-97EC-DED83DFA2B0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95800" y="1480145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E042E187-9E31-46E4-A31B-4CEEBBA380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97346" y="4797320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72E2DC52-8E1E-4C0D-B535-84AEC8E234BF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297345" y="3138733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A60135AB-AA4D-4781-B057-064F2463B5E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040216" y="1480145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5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8718757A-E205-4FD2-8A22-87745C6A119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041762" y="4797319"/>
            <a:ext cx="3600000" cy="1511999"/>
          </a:xfrm>
          <a:prstGeom prst="roundRect">
            <a:avLst>
              <a:gd name="adj" fmla="val 2020"/>
            </a:avLst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D754936B-2FD8-41E1-9972-5644148258B6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041762" y="3138733"/>
            <a:ext cx="3600000" cy="1512000"/>
          </a:xfrm>
          <a:prstGeom prst="roundRect">
            <a:avLst>
              <a:gd name="adj" fmla="val 2020"/>
            </a:avLst>
          </a:prstGeom>
          <a:solidFill>
            <a:schemeClr val="accent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296000" tIns="144000" rIns="144000" bIns="144000" anchor="ctr" anchorCtr="0"/>
          <a:lstStyle>
            <a:lvl1pPr marL="67500" indent="-67500">
              <a:spcBef>
                <a:spcPts val="1200"/>
              </a:spcBef>
              <a:buClr>
                <a:schemeClr val="accent5"/>
              </a:buClr>
              <a:buSzPct val="25000"/>
              <a:buFont typeface="Wingdings" panose="05000000000000000000" pitchFamily="2" charset="2"/>
              <a:buChar char=""/>
              <a:defRPr sz="1800" b="1">
                <a:solidFill>
                  <a:schemeClr val="bg1"/>
                </a:solidFill>
                <a:latin typeface="+mj-lt"/>
              </a:defRPr>
            </a:lvl1pPr>
            <a:lvl2pPr marL="475200">
              <a:spcBef>
                <a:spcPts val="600"/>
              </a:spcBef>
              <a:buClr>
                <a:schemeClr val="bg1"/>
              </a:buClr>
              <a:defRPr sz="1600" b="1">
                <a:solidFill>
                  <a:schemeClr val="bg1"/>
                </a:solidFill>
                <a:latin typeface="+mj-lt"/>
              </a:defRPr>
            </a:lvl2pPr>
            <a:lvl3pPr marL="672300">
              <a:spcBef>
                <a:spcPts val="600"/>
              </a:spcBef>
              <a:buClr>
                <a:schemeClr val="accent2"/>
              </a:buClr>
              <a:defRPr sz="1350"/>
            </a:lvl3pPr>
            <a:lvl4pPr marL="810000">
              <a:spcBef>
                <a:spcPts val="300"/>
              </a:spcBef>
              <a:buClr>
                <a:schemeClr val="accent2"/>
              </a:buClr>
              <a:defRPr sz="1200"/>
            </a:lvl4pPr>
            <a:lvl5pPr>
              <a:defRPr/>
            </a:lvl5pPr>
          </a:lstStyle>
          <a:p>
            <a:pPr lvl="0"/>
            <a:r>
              <a:rPr lang="fr-CA" noProof="0"/>
              <a:t>Texte</a:t>
            </a:r>
          </a:p>
          <a:p>
            <a:pPr lvl="1"/>
            <a:r>
              <a:rPr lang="fr-CA" noProof="0"/>
              <a:t>Text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708D2AA4-D258-4D0E-BDE2-415CACEC396D}"/>
              </a:ext>
            </a:extLst>
          </p:cNvPr>
          <p:cNvCxnSpPr/>
          <p:nvPr/>
        </p:nvCxnSpPr>
        <p:spPr>
          <a:xfrm>
            <a:off x="-180512" y="29946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0CA3E6A5-459C-4328-BF50-A66BEA18D2E5}"/>
              </a:ext>
            </a:extLst>
          </p:cNvPr>
          <p:cNvCxnSpPr/>
          <p:nvPr/>
        </p:nvCxnSpPr>
        <p:spPr>
          <a:xfrm>
            <a:off x="-180512" y="313749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22A1F54-6090-4074-81C2-449C0AC87AEC}"/>
              </a:ext>
            </a:extLst>
          </p:cNvPr>
          <p:cNvCxnSpPr/>
          <p:nvPr/>
        </p:nvCxnSpPr>
        <p:spPr>
          <a:xfrm>
            <a:off x="-180512" y="465444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B653CD77-0BC3-4C2E-AE4D-626F3D62B422}"/>
              </a:ext>
            </a:extLst>
          </p:cNvPr>
          <p:cNvCxnSpPr/>
          <p:nvPr/>
        </p:nvCxnSpPr>
        <p:spPr>
          <a:xfrm>
            <a:off x="-180512" y="47973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BC3D5138-BBC1-4228-B34F-BCBC8BE95490}"/>
              </a:ext>
            </a:extLst>
          </p:cNvPr>
          <p:cNvCxnSpPr/>
          <p:nvPr/>
        </p:nvCxnSpPr>
        <p:spPr>
          <a:xfrm>
            <a:off x="12165801" y="29946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A230224B-D0BF-43D6-ABA0-F93CF6F01584}"/>
              </a:ext>
            </a:extLst>
          </p:cNvPr>
          <p:cNvCxnSpPr/>
          <p:nvPr/>
        </p:nvCxnSpPr>
        <p:spPr>
          <a:xfrm>
            <a:off x="12165801" y="313749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EAAAC619-0404-4BE6-8F23-DF5E5AF0BBDB}"/>
              </a:ext>
            </a:extLst>
          </p:cNvPr>
          <p:cNvCxnSpPr/>
          <p:nvPr/>
        </p:nvCxnSpPr>
        <p:spPr>
          <a:xfrm>
            <a:off x="12165801" y="465444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6130E53-CB12-49B5-8AA9-5A1484818059}"/>
              </a:ext>
            </a:extLst>
          </p:cNvPr>
          <p:cNvCxnSpPr/>
          <p:nvPr/>
        </p:nvCxnSpPr>
        <p:spPr>
          <a:xfrm>
            <a:off x="12165801" y="47973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space réservé du texte 5">
            <a:extLst>
              <a:ext uri="{FF2B5EF4-FFF2-40B4-BE49-F238E27FC236}">
                <a16:creationId xmlns:a16="http://schemas.microsoft.com/office/drawing/2014/main" id="{835FAEDB-F0AC-438C-A1DD-7340D7CDCAB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40216" y="1480145"/>
            <a:ext cx="1333584" cy="1512000"/>
          </a:xfrm>
          <a:noFill/>
        </p:spPr>
        <p:txBody>
          <a:bodyPr anchor="ctr" anchorCtr="0"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CA" noProof="0"/>
              <a:t>###</a:t>
            </a:r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281DB4ED-6BF7-4B61-8709-2D6CC179B1D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295800" y="1480145"/>
            <a:ext cx="1333584" cy="1512000"/>
          </a:xfrm>
          <a:noFill/>
        </p:spPr>
        <p:txBody>
          <a:bodyPr anchor="ctr" anchorCtr="0"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CA" noProof="0"/>
              <a:t>###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422AFA36-D6A0-4129-B138-F1D20EDF403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1384" y="1480145"/>
            <a:ext cx="1333584" cy="1512000"/>
          </a:xfrm>
          <a:noFill/>
        </p:spPr>
        <p:txBody>
          <a:bodyPr anchor="ctr" anchorCtr="0"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CA" noProof="0"/>
              <a:t>###</a:t>
            </a:r>
          </a:p>
        </p:txBody>
      </p:sp>
      <p:sp>
        <p:nvSpPr>
          <p:cNvPr id="26" name="Espace réservé du texte 5">
            <a:extLst>
              <a:ext uri="{FF2B5EF4-FFF2-40B4-BE49-F238E27FC236}">
                <a16:creationId xmlns:a16="http://schemas.microsoft.com/office/drawing/2014/main" id="{358DEFEE-3046-4E46-9F94-FB5DF2D47AB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40216" y="3137495"/>
            <a:ext cx="1333584" cy="1512000"/>
          </a:xfrm>
          <a:noFill/>
        </p:spPr>
        <p:txBody>
          <a:bodyPr anchor="ctr" anchorCtr="0"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CA" noProof="0"/>
              <a:t>###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40E26C4C-2AAB-4156-9F0E-B43E72C944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297345" y="3137495"/>
            <a:ext cx="1333584" cy="1512000"/>
          </a:xfrm>
          <a:noFill/>
        </p:spPr>
        <p:txBody>
          <a:bodyPr anchor="ctr" anchorCtr="0"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CA" noProof="0"/>
              <a:t>###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6FD664F1-2DF9-4EB8-B3F8-31CDDDB3971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51384" y="3137495"/>
            <a:ext cx="1333584" cy="1512000"/>
          </a:xfrm>
          <a:noFill/>
        </p:spPr>
        <p:txBody>
          <a:bodyPr anchor="ctr" anchorCtr="0"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CA" noProof="0"/>
              <a:t>###</a:t>
            </a:r>
          </a:p>
        </p:txBody>
      </p:sp>
      <p:sp>
        <p:nvSpPr>
          <p:cNvPr id="29" name="Espace réservé du texte 5">
            <a:extLst>
              <a:ext uri="{FF2B5EF4-FFF2-40B4-BE49-F238E27FC236}">
                <a16:creationId xmlns:a16="http://schemas.microsoft.com/office/drawing/2014/main" id="{B9EC397E-05E5-4B63-8047-D0E729CC0AA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40216" y="4797320"/>
            <a:ext cx="1333584" cy="1512000"/>
          </a:xfrm>
          <a:noFill/>
        </p:spPr>
        <p:txBody>
          <a:bodyPr anchor="ctr" anchorCtr="0"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CA" noProof="0"/>
              <a:t>###</a:t>
            </a:r>
          </a:p>
        </p:txBody>
      </p:sp>
      <p:sp>
        <p:nvSpPr>
          <p:cNvPr id="30" name="Espace réservé du texte 5">
            <a:extLst>
              <a:ext uri="{FF2B5EF4-FFF2-40B4-BE49-F238E27FC236}">
                <a16:creationId xmlns:a16="http://schemas.microsoft.com/office/drawing/2014/main" id="{79C2D524-93BA-4BB3-B675-9A71D3DD672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97346" y="4797320"/>
            <a:ext cx="1333584" cy="1512000"/>
          </a:xfrm>
          <a:noFill/>
        </p:spPr>
        <p:txBody>
          <a:bodyPr anchor="ctr" anchorCtr="0"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CA" noProof="0"/>
              <a:t>###</a:t>
            </a:r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098C142A-2570-41BB-9CF4-EF51AE56983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1384" y="4797320"/>
            <a:ext cx="1333584" cy="1512000"/>
          </a:xfrm>
          <a:noFill/>
        </p:spPr>
        <p:txBody>
          <a:bodyPr anchor="ctr" anchorCtr="0"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CA" noProof="0"/>
              <a:t>###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752EA43E-751D-4FD9-BE22-F5877FD25B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256241" y="-1"/>
            <a:ext cx="3935760" cy="288000"/>
          </a:xfrm>
          <a:solidFill>
            <a:schemeClr val="bg1"/>
          </a:solidFill>
          <a:effectLst>
            <a:innerShdw dist="38100">
              <a:schemeClr val="accent1"/>
            </a:innerShdw>
          </a:effectLst>
        </p:spPr>
        <p:txBody>
          <a:bodyPr lIns="0" rIns="144000" anchor="ctr" anchorCtr="0"/>
          <a:lstStyle>
            <a:lvl1pPr marL="0" indent="0" algn="r">
              <a:buFontTx/>
              <a:buNone/>
              <a:defRPr sz="1400" b="1" i="1">
                <a:solidFill>
                  <a:schemeClr val="accent1"/>
                </a:solidFill>
              </a:defRPr>
            </a:lvl1pPr>
            <a:lvl2pPr marL="230400" indent="0">
              <a:buFontTx/>
              <a:buNone/>
              <a:defRPr/>
            </a:lvl2pPr>
            <a:lvl3pPr marL="439200" indent="0">
              <a:buFontTx/>
              <a:buNone/>
              <a:defRPr/>
            </a:lvl3pPr>
            <a:lvl4pPr marL="622800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fr-CA"/>
              <a:t>Ajoutez le titre de la section</a:t>
            </a:r>
          </a:p>
        </p:txBody>
      </p:sp>
      <p:sp>
        <p:nvSpPr>
          <p:cNvPr id="33" name="Espace réservé du texte 13">
            <a:extLst>
              <a:ext uri="{FF2B5EF4-FFF2-40B4-BE49-F238E27FC236}">
                <a16:creationId xmlns:a16="http://schemas.microsoft.com/office/drawing/2014/main" id="{918502CA-9D51-4864-8271-7418E90DCCD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50863" y="6454800"/>
            <a:ext cx="5545137" cy="287313"/>
          </a:xfrm>
        </p:spPr>
        <p:txBody>
          <a:bodyPr lIns="0" tIns="0" rIns="0" bIns="0" anchor="t" anchorCtr="0"/>
          <a:lstStyle>
            <a:lvl1pPr marL="0" indent="0">
              <a:spcBef>
                <a:spcPts val="200"/>
              </a:spcBef>
              <a:buNone/>
              <a:defRPr sz="1000" i="1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1050"/>
            </a:lvl5pPr>
          </a:lstStyle>
          <a:p>
            <a:pPr lvl="0"/>
            <a:r>
              <a:rPr lang="fr-CA"/>
              <a:t>Source</a:t>
            </a:r>
          </a:p>
        </p:txBody>
      </p:sp>
      <p:cxnSp>
        <p:nvCxnSpPr>
          <p:cNvPr id="34" name="Connecteur droit 14">
            <a:extLst>
              <a:ext uri="{FF2B5EF4-FFF2-40B4-BE49-F238E27FC236}">
                <a16:creationId xmlns:a16="http://schemas.microsoft.com/office/drawing/2014/main" id="{F97FFB47-A437-4D45-A1BE-B3617BD0A770}"/>
              </a:ext>
            </a:extLst>
          </p:cNvPr>
          <p:cNvCxnSpPr/>
          <p:nvPr userDrawn="1"/>
        </p:nvCxnSpPr>
        <p:spPr>
          <a:xfrm>
            <a:off x="-180512" y="29946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15">
            <a:extLst>
              <a:ext uri="{FF2B5EF4-FFF2-40B4-BE49-F238E27FC236}">
                <a16:creationId xmlns:a16="http://schemas.microsoft.com/office/drawing/2014/main" id="{90FD6279-6D16-4427-B0B8-C86AB0112556}"/>
              </a:ext>
            </a:extLst>
          </p:cNvPr>
          <p:cNvCxnSpPr/>
          <p:nvPr userDrawn="1"/>
        </p:nvCxnSpPr>
        <p:spPr>
          <a:xfrm>
            <a:off x="-180512" y="313749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16">
            <a:extLst>
              <a:ext uri="{FF2B5EF4-FFF2-40B4-BE49-F238E27FC236}">
                <a16:creationId xmlns:a16="http://schemas.microsoft.com/office/drawing/2014/main" id="{90D80FA7-BFD5-49CC-88B6-A7A0C5F6CA39}"/>
              </a:ext>
            </a:extLst>
          </p:cNvPr>
          <p:cNvCxnSpPr/>
          <p:nvPr userDrawn="1"/>
        </p:nvCxnSpPr>
        <p:spPr>
          <a:xfrm>
            <a:off x="-180512" y="465444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17">
            <a:extLst>
              <a:ext uri="{FF2B5EF4-FFF2-40B4-BE49-F238E27FC236}">
                <a16:creationId xmlns:a16="http://schemas.microsoft.com/office/drawing/2014/main" id="{5511305D-269E-44C3-9E3B-DA17888934B8}"/>
              </a:ext>
            </a:extLst>
          </p:cNvPr>
          <p:cNvCxnSpPr/>
          <p:nvPr userDrawn="1"/>
        </p:nvCxnSpPr>
        <p:spPr>
          <a:xfrm>
            <a:off x="-180512" y="47973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18">
            <a:extLst>
              <a:ext uri="{FF2B5EF4-FFF2-40B4-BE49-F238E27FC236}">
                <a16:creationId xmlns:a16="http://schemas.microsoft.com/office/drawing/2014/main" id="{A269E01B-E253-40E7-A8CD-F4CBF6C8BD35}"/>
              </a:ext>
            </a:extLst>
          </p:cNvPr>
          <p:cNvCxnSpPr/>
          <p:nvPr userDrawn="1"/>
        </p:nvCxnSpPr>
        <p:spPr>
          <a:xfrm>
            <a:off x="12165801" y="29946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19">
            <a:extLst>
              <a:ext uri="{FF2B5EF4-FFF2-40B4-BE49-F238E27FC236}">
                <a16:creationId xmlns:a16="http://schemas.microsoft.com/office/drawing/2014/main" id="{416055F3-5329-462D-B38B-4DBA66DC3DA3}"/>
              </a:ext>
            </a:extLst>
          </p:cNvPr>
          <p:cNvCxnSpPr/>
          <p:nvPr userDrawn="1"/>
        </p:nvCxnSpPr>
        <p:spPr>
          <a:xfrm>
            <a:off x="12165801" y="313749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20">
            <a:extLst>
              <a:ext uri="{FF2B5EF4-FFF2-40B4-BE49-F238E27FC236}">
                <a16:creationId xmlns:a16="http://schemas.microsoft.com/office/drawing/2014/main" id="{9289000B-7A50-426B-8E77-0BF6C722A2D3}"/>
              </a:ext>
            </a:extLst>
          </p:cNvPr>
          <p:cNvCxnSpPr/>
          <p:nvPr userDrawn="1"/>
        </p:nvCxnSpPr>
        <p:spPr>
          <a:xfrm>
            <a:off x="12165801" y="4654445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21">
            <a:extLst>
              <a:ext uri="{FF2B5EF4-FFF2-40B4-BE49-F238E27FC236}">
                <a16:creationId xmlns:a16="http://schemas.microsoft.com/office/drawing/2014/main" id="{E9479FA1-0533-470C-A0DE-2A456F55A024}"/>
              </a:ext>
            </a:extLst>
          </p:cNvPr>
          <p:cNvCxnSpPr/>
          <p:nvPr userDrawn="1"/>
        </p:nvCxnSpPr>
        <p:spPr>
          <a:xfrm>
            <a:off x="12165801" y="4797320"/>
            <a:ext cx="144000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692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structions supplémentair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6EB5E8FF-5078-489E-B874-25D4FFBB4221}"/>
              </a:ext>
            </a:extLst>
          </p:cNvPr>
          <p:cNvSpPr txBox="1"/>
          <p:nvPr/>
        </p:nvSpPr>
        <p:spPr>
          <a:xfrm>
            <a:off x="479376" y="1905506"/>
            <a:ext cx="11233248" cy="30469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spcBef>
                <a:spcPts val="1400"/>
              </a:spcBef>
            </a:pPr>
            <a:r>
              <a:rPr lang="fr-CA" sz="9600" b="1">
                <a:solidFill>
                  <a:schemeClr val="bg1"/>
                </a:solidFill>
              </a:rPr>
              <a:t>Instructions supplémentaires</a:t>
            </a:r>
          </a:p>
        </p:txBody>
      </p:sp>
    </p:spTree>
    <p:extLst>
      <p:ext uri="{BB962C8B-B14F-4D97-AF65-F5344CB8AC3E}">
        <p14:creationId xmlns:p14="http://schemas.microsoft.com/office/powerpoint/2010/main" val="38645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tilisation des couleu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93FCA1B-6429-49EE-BAC5-FC3C2B33F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0C0B1C1-7F35-40EB-992A-1607F263A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DF78B49-AF56-4051-8181-8E55E7711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graphicFrame>
        <p:nvGraphicFramePr>
          <p:cNvPr id="6" name="Table 21">
            <a:extLst>
              <a:ext uri="{FF2B5EF4-FFF2-40B4-BE49-F238E27FC236}">
                <a16:creationId xmlns:a16="http://schemas.microsoft.com/office/drawing/2014/main" id="{07E1057F-F8A9-430B-8E52-1656FB0E64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8257853"/>
              </p:ext>
            </p:extLst>
          </p:nvPr>
        </p:nvGraphicFramePr>
        <p:xfrm>
          <a:off x="3071664" y="2208732"/>
          <a:ext cx="8568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9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0-135-78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de contraste primaire utilisée pour les boîtes de titre et </a:t>
                      </a:r>
                      <a:b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</a:br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les boîtes de message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107-121-135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de contraste secondaire utilisée en complément de la primaire </a:t>
                      </a:r>
                      <a:b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</a:br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et pour les tableaux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78A5BBE-D8DA-4AB9-AA63-DB7627966F3B}"/>
              </a:ext>
            </a:extLst>
          </p:cNvPr>
          <p:cNvSpPr/>
          <p:nvPr/>
        </p:nvSpPr>
        <p:spPr bwMode="auto">
          <a:xfrm>
            <a:off x="550800" y="1484784"/>
            <a:ext cx="1805884" cy="576000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txBody>
          <a:bodyPr vert="horz" wrap="square" lIns="14400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ts val="800"/>
              </a:spcBef>
              <a:spcAft>
                <a:spcPct val="0"/>
              </a:spcAft>
            </a:pPr>
            <a: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10 %</a:t>
            </a:r>
            <a:b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</a:br>
            <a:r>
              <a:rPr lang="fr-CA" sz="1400" i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couleurs viv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F37203-0E52-4A1F-89B4-DC900C53E1E6}"/>
              </a:ext>
            </a:extLst>
          </p:cNvPr>
          <p:cNvSpPr/>
          <p:nvPr/>
        </p:nvSpPr>
        <p:spPr bwMode="auto">
          <a:xfrm>
            <a:off x="550800" y="2204864"/>
            <a:ext cx="1805884" cy="1152000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txBody>
          <a:bodyPr vert="horz" wrap="square" lIns="14400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ts val="800"/>
              </a:spcBef>
              <a:spcAft>
                <a:spcPct val="0"/>
              </a:spcAft>
            </a:pPr>
            <a: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30 %</a:t>
            </a:r>
            <a:b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</a:br>
            <a:r>
              <a:rPr lang="fr-CA" sz="1400" i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couleurs de contrast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5DEF8A1-EA48-4DF1-89BA-AD813C0ED6FC}"/>
              </a:ext>
            </a:extLst>
          </p:cNvPr>
          <p:cNvSpPr/>
          <p:nvPr/>
        </p:nvSpPr>
        <p:spPr bwMode="auto">
          <a:xfrm>
            <a:off x="550800" y="3501008"/>
            <a:ext cx="1805884" cy="1728000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txBody>
          <a:bodyPr vert="horz" wrap="square" lIns="14400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ts val="800"/>
              </a:spcBef>
              <a:spcAft>
                <a:spcPct val="0"/>
              </a:spcAft>
            </a:pPr>
            <a: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60 %</a:t>
            </a:r>
            <a:b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</a:br>
            <a:r>
              <a:rPr lang="fr-CA" sz="1400" i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autres couleurs, </a:t>
            </a:r>
            <a:br>
              <a:rPr lang="fr-CA" sz="1400" i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</a:br>
            <a:r>
              <a:rPr lang="fr-CA" sz="1400" i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y compris le blanc</a:t>
            </a:r>
          </a:p>
        </p:txBody>
      </p:sp>
      <p:sp>
        <p:nvSpPr>
          <p:cNvPr id="11" name="Triangle isocèle 10">
            <a:extLst>
              <a:ext uri="{FF2B5EF4-FFF2-40B4-BE49-F238E27FC236}">
                <a16:creationId xmlns:a16="http://schemas.microsoft.com/office/drawing/2014/main" id="{65B5C310-1D3C-4BFA-A42E-E88B69DDB0D6}"/>
              </a:ext>
            </a:extLst>
          </p:cNvPr>
          <p:cNvSpPr/>
          <p:nvPr/>
        </p:nvSpPr>
        <p:spPr>
          <a:xfrm rot="5400000">
            <a:off x="2247917" y="1660464"/>
            <a:ext cx="576000" cy="224649"/>
          </a:xfrm>
          <a:prstGeom prst="triangl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4500" tIns="34290" rIns="945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defRPr/>
            </a:pPr>
            <a:endParaRPr lang="fr-CA" sz="105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riangle isocèle 11">
            <a:extLst>
              <a:ext uri="{FF2B5EF4-FFF2-40B4-BE49-F238E27FC236}">
                <a16:creationId xmlns:a16="http://schemas.microsoft.com/office/drawing/2014/main" id="{C53554C9-1847-4E10-8375-B8C8E617E7E9}"/>
              </a:ext>
            </a:extLst>
          </p:cNvPr>
          <p:cNvSpPr/>
          <p:nvPr/>
        </p:nvSpPr>
        <p:spPr>
          <a:xfrm rot="5400000">
            <a:off x="2247917" y="2380541"/>
            <a:ext cx="576000" cy="224649"/>
          </a:xfrm>
          <a:prstGeom prst="triangl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4500" tIns="34290" rIns="945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defRPr/>
            </a:pPr>
            <a:endParaRPr lang="fr-CA" sz="105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Triangle isocèle 12">
            <a:extLst>
              <a:ext uri="{FF2B5EF4-FFF2-40B4-BE49-F238E27FC236}">
                <a16:creationId xmlns:a16="http://schemas.microsoft.com/office/drawing/2014/main" id="{EFE8C43A-00A8-43E1-827D-69710ED01F2F}"/>
              </a:ext>
            </a:extLst>
          </p:cNvPr>
          <p:cNvSpPr/>
          <p:nvPr/>
        </p:nvSpPr>
        <p:spPr>
          <a:xfrm rot="5400000">
            <a:off x="2247917" y="3676686"/>
            <a:ext cx="576000" cy="224649"/>
          </a:xfrm>
          <a:prstGeom prst="triangl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4500" tIns="34290" rIns="945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defRPr/>
            </a:pPr>
            <a:endParaRPr lang="fr-CA" sz="1050" b="1" kern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14" name="Table 21">
            <a:extLst>
              <a:ext uri="{FF2B5EF4-FFF2-40B4-BE49-F238E27FC236}">
                <a16:creationId xmlns:a16="http://schemas.microsoft.com/office/drawing/2014/main" id="{AA236BF9-7CDF-458E-A38C-EC6F04B968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774083"/>
              </p:ext>
            </p:extLst>
          </p:nvPr>
        </p:nvGraphicFramePr>
        <p:xfrm>
          <a:off x="3071664" y="1484784"/>
          <a:ext cx="8568000" cy="57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9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246-201-60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588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d’accent </a:t>
                      </a:r>
                      <a:r>
                        <a:rPr lang="fr-CA" sz="1600" b="0" i="0" baseline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utilisée pour mettre en évidence un élément particulier </a:t>
                      </a:r>
                      <a:br>
                        <a:rPr lang="fr-CA" sz="1600" b="0" i="0" baseline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</a:br>
                      <a:r>
                        <a:rPr lang="fr-CA" sz="1600" b="0" i="0" baseline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sur une page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5" name="Table 21">
            <a:extLst>
              <a:ext uri="{FF2B5EF4-FFF2-40B4-BE49-F238E27FC236}">
                <a16:creationId xmlns:a16="http://schemas.microsoft.com/office/drawing/2014/main" id="{F4614FD2-23CE-4001-98A9-525C7982C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7293073"/>
              </p:ext>
            </p:extLst>
          </p:nvPr>
        </p:nvGraphicFramePr>
        <p:xfrm>
          <a:off x="3071664" y="3501008"/>
          <a:ext cx="8568000" cy="173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9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105-180-197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additionnelle pour les graphiques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142-201-169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additionnelle pour les graphiques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168-179-178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utilisée principalement pour les bulles et les tableaux </a:t>
                      </a:r>
                      <a:b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</a:br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avec 2 niveaux d’en-tête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2723068"/>
                  </a:ext>
                </a:extLst>
              </a:tr>
            </a:tbl>
          </a:graphicData>
        </a:graphic>
      </p:graphicFrame>
      <p:sp>
        <p:nvSpPr>
          <p:cNvPr id="18" name="ZoneTexte 17">
            <a:extLst>
              <a:ext uri="{FF2B5EF4-FFF2-40B4-BE49-F238E27FC236}">
                <a16:creationId xmlns:a16="http://schemas.microsoft.com/office/drawing/2014/main" id="{62C4E7F3-1A27-4B52-8C68-AB0E9FA3E98C}"/>
              </a:ext>
            </a:extLst>
          </p:cNvPr>
          <p:cNvSpPr txBox="1"/>
          <p:nvPr/>
        </p:nvSpPr>
        <p:spPr>
          <a:xfrm>
            <a:off x="550800" y="403200"/>
            <a:ext cx="11088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600" b="1"/>
              <a:t>Utilisez les </a:t>
            </a:r>
            <a:r>
              <a:rPr lang="fr-CA" sz="3600" b="1">
                <a:solidFill>
                  <a:schemeClr val="accent1"/>
                </a:solidFill>
              </a:rPr>
              <a:t>couleurs de Desjardins </a:t>
            </a:r>
            <a:r>
              <a:rPr lang="fr-CA" sz="3600" b="1"/>
              <a:t>de manière cohérente </a:t>
            </a:r>
            <a:br>
              <a:rPr lang="fr-CA" sz="3600" b="1"/>
            </a:br>
            <a:r>
              <a:rPr lang="fr-CA" sz="3600" b="1"/>
              <a:t>pour créer du contraste et de la hiérarchie</a:t>
            </a:r>
            <a:endParaRPr lang="fr-CA" sz="1800" b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72EC17-EA21-4410-8AE6-6CBD8AB70EFB}"/>
              </a:ext>
            </a:extLst>
          </p:cNvPr>
          <p:cNvSpPr/>
          <p:nvPr/>
        </p:nvSpPr>
        <p:spPr bwMode="auto">
          <a:xfrm>
            <a:off x="550801" y="5373216"/>
            <a:ext cx="1805883" cy="1008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txBody>
          <a:bodyPr vert="horz" wrap="square" lIns="144000" tIns="72000" rIns="90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6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Arial" charset="0"/>
                <a:cs typeface="Arial" charset="0"/>
              </a:rPr>
              <a:t>Couleurs</a:t>
            </a:r>
            <a:r>
              <a:rPr kumimoji="0" lang="fr-CA" sz="1600" b="1" i="0" u="none" strike="noStrike" kern="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Arial" charset="0"/>
                <a:cs typeface="Arial" charset="0"/>
              </a:rPr>
              <a:t> de tableau de bord</a:t>
            </a:r>
            <a:endParaRPr kumimoji="0" lang="fr-CA" sz="1400" b="1" i="1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33" name="Triangle isocèle 32">
            <a:extLst>
              <a:ext uri="{FF2B5EF4-FFF2-40B4-BE49-F238E27FC236}">
                <a16:creationId xmlns:a16="http://schemas.microsoft.com/office/drawing/2014/main" id="{02AA7DE2-77D1-4B0F-AF11-D4751957B9D3}"/>
              </a:ext>
            </a:extLst>
          </p:cNvPr>
          <p:cNvSpPr/>
          <p:nvPr/>
        </p:nvSpPr>
        <p:spPr>
          <a:xfrm rot="5400000">
            <a:off x="2249317" y="5542849"/>
            <a:ext cx="576000" cy="227451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447DF5CD-87D0-4949-921E-9C964A4AFCA5}"/>
              </a:ext>
            </a:extLst>
          </p:cNvPr>
          <p:cNvGrpSpPr/>
          <p:nvPr/>
        </p:nvGrpSpPr>
        <p:grpSpPr>
          <a:xfrm>
            <a:off x="3071664" y="5373216"/>
            <a:ext cx="2653860" cy="1008000"/>
            <a:chOff x="3071664" y="5399704"/>
            <a:chExt cx="2653860" cy="100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A3768530-2366-4E71-A815-515CC5312917}"/>
                </a:ext>
              </a:extLst>
            </p:cNvPr>
            <p:cNvSpPr/>
            <p:nvPr/>
          </p:nvSpPr>
          <p:spPr>
            <a:xfrm>
              <a:off x="3071664" y="5399705"/>
              <a:ext cx="2653860" cy="392261"/>
            </a:xfrm>
            <a:prstGeom prst="rect">
              <a:avLst/>
            </a:prstGeom>
            <a:solidFill>
              <a:srgbClr val="00874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5613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buSzTx/>
                <a:buFontTx/>
                <a:buNone/>
                <a:tabLst/>
                <a:defRPr/>
              </a:pPr>
              <a: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RVB : </a:t>
              </a:r>
              <a:r>
                <a:rPr kumimoji="0" lang="fr-CA" sz="16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0-135-78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E297DE2-11B2-44B8-A276-DC8B56083DE0}"/>
                </a:ext>
              </a:extLst>
            </p:cNvPr>
            <p:cNvSpPr/>
            <p:nvPr/>
          </p:nvSpPr>
          <p:spPr>
            <a:xfrm>
              <a:off x="3071664" y="5399704"/>
              <a:ext cx="2653860" cy="1008000"/>
            </a:xfrm>
            <a:prstGeom prst="rect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9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5613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buSzTx/>
                <a:buFontTx/>
                <a:buNone/>
                <a:tabLst/>
                <a:defRPr/>
              </a:pPr>
              <a: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Égale ou supérieure </a:t>
              </a:r>
              <a:b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</a:br>
              <a: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au point de référence</a:t>
              </a:r>
            </a:p>
          </p:txBody>
        </p:sp>
      </p:grp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CB276951-9612-4DAA-AEFD-CE0C61C06505}"/>
              </a:ext>
            </a:extLst>
          </p:cNvPr>
          <p:cNvGrpSpPr/>
          <p:nvPr/>
        </p:nvGrpSpPr>
        <p:grpSpPr>
          <a:xfrm>
            <a:off x="8984940" y="5373216"/>
            <a:ext cx="2653860" cy="1008000"/>
            <a:chOff x="8984940" y="5399704"/>
            <a:chExt cx="2653860" cy="10080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D10D8F1-8076-48A4-B743-339A865F7718}"/>
                </a:ext>
              </a:extLst>
            </p:cNvPr>
            <p:cNvSpPr/>
            <p:nvPr/>
          </p:nvSpPr>
          <p:spPr>
            <a:xfrm>
              <a:off x="8984940" y="5399705"/>
              <a:ext cx="2653860" cy="392261"/>
            </a:xfrm>
            <a:prstGeom prst="rect">
              <a:avLst/>
            </a:prstGeom>
            <a:solidFill>
              <a:srgbClr val="CA241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5613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buSzTx/>
                <a:buFontTx/>
                <a:buNone/>
                <a:tabLst/>
                <a:defRPr/>
              </a:pPr>
              <a: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RVB : </a:t>
              </a:r>
              <a:r>
                <a:rPr kumimoji="0" lang="fr-CA" sz="16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202-36-26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18E2DC9C-7E6B-4A22-A068-833F8AED3616}"/>
                </a:ext>
              </a:extLst>
            </p:cNvPr>
            <p:cNvSpPr/>
            <p:nvPr/>
          </p:nvSpPr>
          <p:spPr>
            <a:xfrm>
              <a:off x="8984940" y="5399704"/>
              <a:ext cx="2653860" cy="1008000"/>
            </a:xfrm>
            <a:prstGeom prst="rect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9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455613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defRPr/>
              </a:pPr>
              <a:r>
                <a:rPr lang="fr-CA" sz="1600" noProof="0">
                  <a:solidFill>
                    <a:schemeClr val="tx1"/>
                  </a:solidFill>
                  <a:latin typeface="+mn-lt"/>
                </a:rPr>
                <a:t>Inférieure au point de référence de plus de 5 %</a:t>
              </a:r>
              <a:endParaRPr lang="fr-CA" sz="1600" kern="0" noProof="0">
                <a:solidFill>
                  <a:schemeClr val="tx1"/>
                </a:solidFill>
                <a:latin typeface="+mn-lt"/>
                <a:ea typeface="Arial" charset="0"/>
                <a:cs typeface="Arial" charset="0"/>
              </a:endParaRP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A841B4B2-1475-450F-ADBA-FB814DD3857D}"/>
              </a:ext>
            </a:extLst>
          </p:cNvPr>
          <p:cNvGrpSpPr/>
          <p:nvPr/>
        </p:nvGrpSpPr>
        <p:grpSpPr>
          <a:xfrm>
            <a:off x="6028302" y="5373216"/>
            <a:ext cx="2653860" cy="1008000"/>
            <a:chOff x="6028302" y="5399704"/>
            <a:chExt cx="2653860" cy="10080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203AAFF-EF24-42C6-A171-2850AC4B7D26}"/>
                </a:ext>
              </a:extLst>
            </p:cNvPr>
            <p:cNvSpPr/>
            <p:nvPr/>
          </p:nvSpPr>
          <p:spPr>
            <a:xfrm>
              <a:off x="6028302" y="5399705"/>
              <a:ext cx="2653860" cy="392261"/>
            </a:xfrm>
            <a:prstGeom prst="rect">
              <a:avLst/>
            </a:prstGeom>
            <a:solidFill>
              <a:srgbClr val="F6C9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5613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buSzTx/>
                <a:buFontTx/>
                <a:buNone/>
                <a:tabLst/>
                <a:defRPr/>
              </a:pPr>
              <a: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RVB : </a:t>
              </a:r>
              <a:r>
                <a:rPr kumimoji="0" lang="fr-CA" sz="16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246-201-60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649A49D-6E35-4280-A1D8-AB4137191C38}"/>
                </a:ext>
              </a:extLst>
            </p:cNvPr>
            <p:cNvSpPr/>
            <p:nvPr/>
          </p:nvSpPr>
          <p:spPr>
            <a:xfrm>
              <a:off x="6028302" y="5399704"/>
              <a:ext cx="2653860" cy="1008000"/>
            </a:xfrm>
            <a:prstGeom prst="rect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9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455613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defRPr/>
              </a:pPr>
              <a:r>
                <a:rPr lang="fr-CA" sz="1600" noProof="0">
                  <a:solidFill>
                    <a:schemeClr val="tx1"/>
                  </a:solidFill>
                  <a:latin typeface="+mn-lt"/>
                </a:rPr>
                <a:t>Inférieure au point de référence de 5 % ou moins</a:t>
              </a:r>
              <a:endParaRPr lang="fr-CA" sz="1600" kern="0" noProof="0">
                <a:solidFill>
                  <a:schemeClr val="tx1"/>
                </a:solidFill>
                <a:latin typeface="+mn-lt"/>
                <a:ea typeface="Arial" charset="0"/>
                <a:cs typeface="Arial" charset="0"/>
              </a:endParaRPr>
            </a:p>
          </p:txBody>
        </p:sp>
      </p:grpSp>
      <p:graphicFrame>
        <p:nvGraphicFramePr>
          <p:cNvPr id="28" name="Table 21">
            <a:extLst>
              <a:ext uri="{FF2B5EF4-FFF2-40B4-BE49-F238E27FC236}">
                <a16:creationId xmlns:a16="http://schemas.microsoft.com/office/drawing/2014/main" id="{3961F58F-3DE3-4C9B-B8EB-6DBE87E105C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44874102"/>
              </p:ext>
            </p:extLst>
          </p:nvPr>
        </p:nvGraphicFramePr>
        <p:xfrm>
          <a:off x="3071664" y="2208732"/>
          <a:ext cx="8568000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9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0-135-78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de contraste primaire utilisée pour les boîtes de titre et </a:t>
                      </a:r>
                      <a:b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</a:br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les boîtes de message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107-121-135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de contraste secondaire utilisée en complément de la primaire </a:t>
                      </a:r>
                      <a:b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</a:br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et pour les tableaux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09688FE8-2F1A-451F-A1C9-403CD5DCA372}"/>
              </a:ext>
            </a:extLst>
          </p:cNvPr>
          <p:cNvSpPr/>
          <p:nvPr userDrawn="1"/>
        </p:nvSpPr>
        <p:spPr bwMode="auto">
          <a:xfrm>
            <a:off x="550800" y="1484784"/>
            <a:ext cx="1805884" cy="576000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txBody>
          <a:bodyPr vert="horz" wrap="square" lIns="14400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ts val="800"/>
              </a:spcBef>
              <a:spcAft>
                <a:spcPct val="0"/>
              </a:spcAft>
            </a:pPr>
            <a: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10 %</a:t>
            </a:r>
            <a:b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</a:br>
            <a:r>
              <a:rPr lang="fr-CA" sz="1400" i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couleurs viv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A10C966-67B9-4F4F-900B-022177738FFD}"/>
              </a:ext>
            </a:extLst>
          </p:cNvPr>
          <p:cNvSpPr/>
          <p:nvPr userDrawn="1"/>
        </p:nvSpPr>
        <p:spPr bwMode="auto">
          <a:xfrm>
            <a:off x="550800" y="2204864"/>
            <a:ext cx="1805884" cy="1152000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txBody>
          <a:bodyPr vert="horz" wrap="square" lIns="14400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ts val="800"/>
              </a:spcBef>
              <a:spcAft>
                <a:spcPct val="0"/>
              </a:spcAft>
            </a:pPr>
            <a: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30 %</a:t>
            </a:r>
            <a:b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</a:br>
            <a:r>
              <a:rPr lang="fr-CA" sz="1400" i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couleurs de contrast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CE35149-1B1F-40A5-ABC9-97A86781549F}"/>
              </a:ext>
            </a:extLst>
          </p:cNvPr>
          <p:cNvSpPr/>
          <p:nvPr userDrawn="1"/>
        </p:nvSpPr>
        <p:spPr bwMode="auto">
          <a:xfrm>
            <a:off x="550800" y="3501008"/>
            <a:ext cx="1805884" cy="1728000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txBody>
          <a:bodyPr vert="horz" wrap="square" lIns="144000" tIns="72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ts val="800"/>
              </a:spcBef>
              <a:spcAft>
                <a:spcPct val="0"/>
              </a:spcAft>
            </a:pPr>
            <a: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60 %</a:t>
            </a:r>
            <a:b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</a:br>
            <a:r>
              <a:rPr lang="fr-CA" sz="1400" i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autres couleurs, </a:t>
            </a:r>
            <a:br>
              <a:rPr lang="fr-CA" sz="1400" i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</a:br>
            <a:r>
              <a:rPr lang="fr-CA" sz="1400" i="1">
                <a:solidFill>
                  <a:schemeClr val="tx1"/>
                </a:solidFill>
                <a:latin typeface="+mn-lt"/>
                <a:ea typeface="Arial" charset="0"/>
                <a:cs typeface="Arial" charset="0"/>
              </a:rPr>
              <a:t>y compris le blanc</a:t>
            </a:r>
          </a:p>
        </p:txBody>
      </p:sp>
      <p:sp>
        <p:nvSpPr>
          <p:cNvPr id="38" name="Triangle isocèle 10">
            <a:extLst>
              <a:ext uri="{FF2B5EF4-FFF2-40B4-BE49-F238E27FC236}">
                <a16:creationId xmlns:a16="http://schemas.microsoft.com/office/drawing/2014/main" id="{1C802EC6-B6AC-4AC8-B9CE-D01DA8F3190D}"/>
              </a:ext>
            </a:extLst>
          </p:cNvPr>
          <p:cNvSpPr/>
          <p:nvPr userDrawn="1"/>
        </p:nvSpPr>
        <p:spPr>
          <a:xfrm rot="5400000">
            <a:off x="2247917" y="1660464"/>
            <a:ext cx="576000" cy="224649"/>
          </a:xfrm>
          <a:prstGeom prst="triangl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4500" tIns="34290" rIns="945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defRPr/>
            </a:pPr>
            <a:endParaRPr lang="fr-CA" sz="105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Triangle isocèle 11">
            <a:extLst>
              <a:ext uri="{FF2B5EF4-FFF2-40B4-BE49-F238E27FC236}">
                <a16:creationId xmlns:a16="http://schemas.microsoft.com/office/drawing/2014/main" id="{A6B24A5A-105B-4B43-AEF9-BD9A230E2A50}"/>
              </a:ext>
            </a:extLst>
          </p:cNvPr>
          <p:cNvSpPr/>
          <p:nvPr userDrawn="1"/>
        </p:nvSpPr>
        <p:spPr>
          <a:xfrm rot="5400000">
            <a:off x="2247917" y="2380541"/>
            <a:ext cx="576000" cy="224649"/>
          </a:xfrm>
          <a:prstGeom prst="triangl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4500" tIns="34290" rIns="945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defRPr/>
            </a:pPr>
            <a:endParaRPr lang="fr-CA" sz="105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0" name="Triangle isocèle 12">
            <a:extLst>
              <a:ext uri="{FF2B5EF4-FFF2-40B4-BE49-F238E27FC236}">
                <a16:creationId xmlns:a16="http://schemas.microsoft.com/office/drawing/2014/main" id="{85633938-B93F-4B54-AAB6-A190C5B2C882}"/>
              </a:ext>
            </a:extLst>
          </p:cNvPr>
          <p:cNvSpPr/>
          <p:nvPr userDrawn="1"/>
        </p:nvSpPr>
        <p:spPr>
          <a:xfrm rot="5400000">
            <a:off x="2247917" y="3676686"/>
            <a:ext cx="576000" cy="224649"/>
          </a:xfrm>
          <a:prstGeom prst="triangle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4500" tIns="34290" rIns="945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defRPr/>
            </a:pPr>
            <a:endParaRPr lang="fr-CA" sz="1050" b="1" kern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41" name="Table 21">
            <a:extLst>
              <a:ext uri="{FF2B5EF4-FFF2-40B4-BE49-F238E27FC236}">
                <a16:creationId xmlns:a16="http://schemas.microsoft.com/office/drawing/2014/main" id="{FBAC23BC-8627-4592-B4E2-38E25DF5DDDB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74696427"/>
              </p:ext>
            </p:extLst>
          </p:nvPr>
        </p:nvGraphicFramePr>
        <p:xfrm>
          <a:off x="3071664" y="1484784"/>
          <a:ext cx="8568000" cy="57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9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246-201-60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1588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d’accent </a:t>
                      </a:r>
                      <a:r>
                        <a:rPr lang="fr-CA" sz="1600" b="0" i="0" baseline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utilisée pour mettre en évidence un élément particulier </a:t>
                      </a:r>
                      <a:br>
                        <a:rPr lang="fr-CA" sz="1600" b="0" i="0" baseline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</a:br>
                      <a:r>
                        <a:rPr lang="fr-CA" sz="1600" b="0" i="0" baseline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sur une page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2" name="Table 21">
            <a:extLst>
              <a:ext uri="{FF2B5EF4-FFF2-40B4-BE49-F238E27FC236}">
                <a16:creationId xmlns:a16="http://schemas.microsoft.com/office/drawing/2014/main" id="{D1F0957F-B4E6-4E27-B8EA-08A12B9FB50D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12523513"/>
              </p:ext>
            </p:extLst>
          </p:nvPr>
        </p:nvGraphicFramePr>
        <p:xfrm>
          <a:off x="3071664" y="3501008"/>
          <a:ext cx="8568000" cy="173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9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105-180-197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additionnelle pour les graphiques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142-201-169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additionnelle pour les graphiques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marL="0" marR="0" lvl="0" indent="0" algn="l" defTabSz="455613" rtl="0" eaLnBrk="0" fontAlgn="base" latinLnBrk="0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21212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A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RVB : </a:t>
                      </a:r>
                      <a:r>
                        <a:rPr kumimoji="0" lang="fr-CA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Arial" charset="0"/>
                          <a:cs typeface="Arial" charset="0"/>
                        </a:rPr>
                        <a:t>168-179-178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Couleur utilisée principalement pour les bulles et les tableaux </a:t>
                      </a:r>
                      <a:b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</a:br>
                      <a:r>
                        <a:rPr lang="fr-CA" sz="1600" b="0" i="0" noProof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</a:rPr>
                        <a:t>avec 2 niveaux d’en-tête</a:t>
                      </a:r>
                    </a:p>
                  </a:txBody>
                  <a:tcPr marL="144000" marR="14400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2723068"/>
                  </a:ext>
                </a:extLst>
              </a:tr>
            </a:tbl>
          </a:graphicData>
        </a:graphic>
      </p:graphicFrame>
      <p:sp>
        <p:nvSpPr>
          <p:cNvPr id="43" name="ZoneTexte 17">
            <a:extLst>
              <a:ext uri="{FF2B5EF4-FFF2-40B4-BE49-F238E27FC236}">
                <a16:creationId xmlns:a16="http://schemas.microsoft.com/office/drawing/2014/main" id="{25F994C0-0D99-4B7E-995E-064E1C6FE1EC}"/>
              </a:ext>
            </a:extLst>
          </p:cNvPr>
          <p:cNvSpPr txBox="1"/>
          <p:nvPr userDrawn="1"/>
        </p:nvSpPr>
        <p:spPr>
          <a:xfrm>
            <a:off x="550800" y="403200"/>
            <a:ext cx="11088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600" b="1"/>
              <a:t>Utilisez les </a:t>
            </a:r>
            <a:r>
              <a:rPr lang="fr-CA" sz="3600" b="1">
                <a:solidFill>
                  <a:schemeClr val="accent1"/>
                </a:solidFill>
              </a:rPr>
              <a:t>couleurs de Desjardins </a:t>
            </a:r>
            <a:r>
              <a:rPr lang="fr-CA" sz="3600" b="1"/>
              <a:t>de manière cohérente </a:t>
            </a:r>
            <a:br>
              <a:rPr lang="fr-CA" sz="3600" b="1"/>
            </a:br>
            <a:r>
              <a:rPr lang="fr-CA" sz="3600" b="1"/>
              <a:t>pour créer du contraste et de la hiérarchie</a:t>
            </a:r>
            <a:endParaRPr lang="fr-CA" sz="1800" b="1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4AF050A-66A0-4B33-8A31-D2C697CC9D79}"/>
              </a:ext>
            </a:extLst>
          </p:cNvPr>
          <p:cNvSpPr/>
          <p:nvPr userDrawn="1"/>
        </p:nvSpPr>
        <p:spPr bwMode="auto">
          <a:xfrm>
            <a:off x="550801" y="5373216"/>
            <a:ext cx="1805883" cy="1008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  <p:txBody>
          <a:bodyPr vert="horz" wrap="square" lIns="144000" tIns="72000" rIns="90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6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Arial" charset="0"/>
                <a:cs typeface="Arial" charset="0"/>
              </a:rPr>
              <a:t>Couleurs</a:t>
            </a:r>
            <a:r>
              <a:rPr kumimoji="0" lang="fr-CA" sz="1600" b="1" i="0" u="none" strike="noStrike" kern="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Arial" charset="0"/>
                <a:cs typeface="Arial" charset="0"/>
              </a:rPr>
              <a:t> de tableau de bord</a:t>
            </a:r>
            <a:endParaRPr kumimoji="0" lang="fr-CA" sz="1400" b="1" i="1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Arial" charset="0"/>
              <a:cs typeface="Arial" charset="0"/>
            </a:endParaRPr>
          </a:p>
        </p:txBody>
      </p:sp>
      <p:sp>
        <p:nvSpPr>
          <p:cNvPr id="45" name="Triangle isocèle 32">
            <a:extLst>
              <a:ext uri="{FF2B5EF4-FFF2-40B4-BE49-F238E27FC236}">
                <a16:creationId xmlns:a16="http://schemas.microsoft.com/office/drawing/2014/main" id="{50337F46-8CF2-4722-B7ED-DC071703BE2D}"/>
              </a:ext>
            </a:extLst>
          </p:cNvPr>
          <p:cNvSpPr/>
          <p:nvPr userDrawn="1"/>
        </p:nvSpPr>
        <p:spPr>
          <a:xfrm rot="5400000">
            <a:off x="2249317" y="5542849"/>
            <a:ext cx="576000" cy="227451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grpSp>
        <p:nvGrpSpPr>
          <p:cNvPr id="46" name="Groupe 33">
            <a:extLst>
              <a:ext uri="{FF2B5EF4-FFF2-40B4-BE49-F238E27FC236}">
                <a16:creationId xmlns:a16="http://schemas.microsoft.com/office/drawing/2014/main" id="{4329F021-241A-4A09-B860-9324BF92F16E}"/>
              </a:ext>
            </a:extLst>
          </p:cNvPr>
          <p:cNvGrpSpPr/>
          <p:nvPr userDrawn="1"/>
        </p:nvGrpSpPr>
        <p:grpSpPr>
          <a:xfrm>
            <a:off x="3071664" y="5373216"/>
            <a:ext cx="2653860" cy="1008000"/>
            <a:chOff x="3071664" y="5399704"/>
            <a:chExt cx="2653860" cy="100800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75102C1F-095F-4977-AD92-21384203EBAB}"/>
                </a:ext>
              </a:extLst>
            </p:cNvPr>
            <p:cNvSpPr/>
            <p:nvPr/>
          </p:nvSpPr>
          <p:spPr>
            <a:xfrm>
              <a:off x="3071664" y="5399705"/>
              <a:ext cx="2653860" cy="392261"/>
            </a:xfrm>
            <a:prstGeom prst="rect">
              <a:avLst/>
            </a:prstGeom>
            <a:solidFill>
              <a:srgbClr val="00874E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5613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buSzTx/>
                <a:buFontTx/>
                <a:buNone/>
                <a:tabLst/>
                <a:defRPr/>
              </a:pPr>
              <a: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RVB : </a:t>
              </a:r>
              <a:r>
                <a:rPr kumimoji="0" lang="fr-CA" sz="16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0-135-78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7A7D6CB-EAE6-4AC1-B518-18BE24F41E05}"/>
                </a:ext>
              </a:extLst>
            </p:cNvPr>
            <p:cNvSpPr/>
            <p:nvPr/>
          </p:nvSpPr>
          <p:spPr>
            <a:xfrm>
              <a:off x="3071664" y="5399704"/>
              <a:ext cx="2653860" cy="1008000"/>
            </a:xfrm>
            <a:prstGeom prst="rect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9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5613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buSzTx/>
                <a:buFontTx/>
                <a:buNone/>
                <a:tabLst/>
                <a:defRPr/>
              </a:pPr>
              <a: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Égale ou supérieure </a:t>
              </a:r>
              <a:b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</a:br>
              <a: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au point de référence</a:t>
              </a:r>
            </a:p>
          </p:txBody>
        </p:sp>
      </p:grpSp>
      <p:grpSp>
        <p:nvGrpSpPr>
          <p:cNvPr id="49" name="Groupe 35">
            <a:extLst>
              <a:ext uri="{FF2B5EF4-FFF2-40B4-BE49-F238E27FC236}">
                <a16:creationId xmlns:a16="http://schemas.microsoft.com/office/drawing/2014/main" id="{9C440916-C480-49AA-BBAB-377A1AB0B266}"/>
              </a:ext>
            </a:extLst>
          </p:cNvPr>
          <p:cNvGrpSpPr/>
          <p:nvPr userDrawn="1"/>
        </p:nvGrpSpPr>
        <p:grpSpPr>
          <a:xfrm>
            <a:off x="8984940" y="5373216"/>
            <a:ext cx="2653860" cy="1008000"/>
            <a:chOff x="8984940" y="5399704"/>
            <a:chExt cx="2653860" cy="1008000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4A1B177C-3FA2-4CCA-B6AC-3A89812A9EC6}"/>
                </a:ext>
              </a:extLst>
            </p:cNvPr>
            <p:cNvSpPr/>
            <p:nvPr/>
          </p:nvSpPr>
          <p:spPr>
            <a:xfrm>
              <a:off x="8984940" y="5399705"/>
              <a:ext cx="2653860" cy="392261"/>
            </a:xfrm>
            <a:prstGeom prst="rect">
              <a:avLst/>
            </a:prstGeom>
            <a:solidFill>
              <a:srgbClr val="CA241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5613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buSzTx/>
                <a:buFontTx/>
                <a:buNone/>
                <a:tabLst/>
                <a:defRPr/>
              </a:pPr>
              <a: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RVB : </a:t>
              </a:r>
              <a:r>
                <a:rPr kumimoji="0" lang="fr-CA" sz="16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202-36-26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831B21C6-A9A4-4A83-B1AA-394938C159CF}"/>
                </a:ext>
              </a:extLst>
            </p:cNvPr>
            <p:cNvSpPr/>
            <p:nvPr/>
          </p:nvSpPr>
          <p:spPr>
            <a:xfrm>
              <a:off x="8984940" y="5399704"/>
              <a:ext cx="2653860" cy="1008000"/>
            </a:xfrm>
            <a:prstGeom prst="rect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9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455613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defRPr/>
              </a:pPr>
              <a:r>
                <a:rPr lang="fr-CA" sz="1600" noProof="0">
                  <a:solidFill>
                    <a:schemeClr val="tx1"/>
                  </a:solidFill>
                  <a:latin typeface="+mn-lt"/>
                </a:rPr>
                <a:t>Inférieure au point de référence de plus de 5 %</a:t>
              </a:r>
              <a:endParaRPr lang="fr-CA" sz="1600" kern="0" noProof="0">
                <a:solidFill>
                  <a:schemeClr val="tx1"/>
                </a:solidFill>
                <a:latin typeface="+mn-lt"/>
                <a:ea typeface="Arial" charset="0"/>
                <a:cs typeface="Arial" charset="0"/>
              </a:endParaRPr>
            </a:p>
          </p:txBody>
        </p:sp>
      </p:grpSp>
      <p:grpSp>
        <p:nvGrpSpPr>
          <p:cNvPr id="52" name="Groupe 34">
            <a:extLst>
              <a:ext uri="{FF2B5EF4-FFF2-40B4-BE49-F238E27FC236}">
                <a16:creationId xmlns:a16="http://schemas.microsoft.com/office/drawing/2014/main" id="{C5366765-B3F1-4F89-B44F-989C9FD2AF94}"/>
              </a:ext>
            </a:extLst>
          </p:cNvPr>
          <p:cNvGrpSpPr/>
          <p:nvPr userDrawn="1"/>
        </p:nvGrpSpPr>
        <p:grpSpPr>
          <a:xfrm>
            <a:off x="6028302" y="5373216"/>
            <a:ext cx="2653860" cy="1008000"/>
            <a:chOff x="6028302" y="5399704"/>
            <a:chExt cx="2653860" cy="1008000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08992732-2088-4451-A698-84CDF5713C65}"/>
                </a:ext>
              </a:extLst>
            </p:cNvPr>
            <p:cNvSpPr/>
            <p:nvPr/>
          </p:nvSpPr>
          <p:spPr>
            <a:xfrm>
              <a:off x="6028302" y="5399705"/>
              <a:ext cx="2653860" cy="392261"/>
            </a:xfrm>
            <a:prstGeom prst="rect">
              <a:avLst/>
            </a:prstGeom>
            <a:solidFill>
              <a:srgbClr val="F6C93C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5613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buSzTx/>
                <a:buFontTx/>
                <a:buNone/>
                <a:tabLst/>
                <a:defRPr/>
              </a:pPr>
              <a:r>
                <a:rPr kumimoji="0" lang="fr-CA" sz="1600" b="0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RVB : </a:t>
              </a:r>
              <a:r>
                <a:rPr kumimoji="0" lang="fr-CA" sz="1600" b="1" i="0" u="none" strike="noStrike" kern="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Arial" charset="0"/>
                  <a:cs typeface="Arial" charset="0"/>
                </a:rPr>
                <a:t>246-201-60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FC22151D-E6F9-47A1-BC60-20351D0C1C35}"/>
                </a:ext>
              </a:extLst>
            </p:cNvPr>
            <p:cNvSpPr/>
            <p:nvPr/>
          </p:nvSpPr>
          <p:spPr>
            <a:xfrm>
              <a:off x="6028302" y="5399704"/>
              <a:ext cx="2653860" cy="1008000"/>
            </a:xfrm>
            <a:prstGeom prst="rect">
              <a:avLst/>
            </a:prstGeom>
            <a:noFill/>
            <a:ln w="1270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36000" tIns="39600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defTabSz="455613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212121"/>
                </a:buClr>
                <a:defRPr/>
              </a:pPr>
              <a:r>
                <a:rPr lang="fr-CA" sz="1600" noProof="0">
                  <a:solidFill>
                    <a:schemeClr val="tx1"/>
                  </a:solidFill>
                  <a:latin typeface="+mn-lt"/>
                </a:rPr>
                <a:t>Inférieure au point de référence de 5 % ou moins</a:t>
              </a:r>
              <a:endParaRPr lang="fr-CA" sz="1600" kern="0" noProof="0">
                <a:solidFill>
                  <a:schemeClr val="tx1"/>
                </a:solidFill>
                <a:latin typeface="+mn-lt"/>
                <a:ea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90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uvegarder votre thè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93FCA1B-6429-49EE-BAC5-FC3C2B33F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725D42C4-328D-4D55-839E-3A6CA1FE13F2}" type="datetime1">
              <a:rPr lang="fr-CA" smtClean="0"/>
              <a:pPr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0C0B1C1-7F35-40EB-992A-1607F263A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fr-CA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DF78B49-AF56-4051-8181-8E55E7711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2C4E7F3-1A27-4B52-8C68-AB0E9FA3E98C}"/>
              </a:ext>
            </a:extLst>
          </p:cNvPr>
          <p:cNvSpPr txBox="1"/>
          <p:nvPr/>
        </p:nvSpPr>
        <p:spPr>
          <a:xfrm>
            <a:off x="550800" y="403200"/>
            <a:ext cx="11088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600" b="1">
                <a:latin typeface="+mn-lt"/>
              </a:rPr>
              <a:t>Sauvegardez votre </a:t>
            </a:r>
            <a:r>
              <a:rPr lang="fr-CA" sz="3600" b="1">
                <a:solidFill>
                  <a:schemeClr val="accent1"/>
                </a:solidFill>
                <a:latin typeface="+mn-lt"/>
              </a:rPr>
              <a:t>thème</a:t>
            </a:r>
            <a:r>
              <a:rPr lang="fr-CA" sz="3600" b="1">
                <a:latin typeface="+mn-lt"/>
              </a:rPr>
              <a:t> pour réutiliser vos couleurs </a:t>
            </a:r>
            <a:br>
              <a:rPr lang="fr-CA" sz="3600" b="1">
                <a:latin typeface="+mn-lt"/>
              </a:rPr>
            </a:br>
            <a:r>
              <a:rPr lang="fr-CA" sz="3600" b="1">
                <a:latin typeface="+mn-lt"/>
              </a:rPr>
              <a:t>et votre police préprogrammé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87A9AE1-11F1-4400-992C-1661675B3D53}"/>
              </a:ext>
            </a:extLst>
          </p:cNvPr>
          <p:cNvSpPr txBox="1">
            <a:spLocks/>
          </p:cNvSpPr>
          <p:nvPr/>
        </p:nvSpPr>
        <p:spPr>
          <a:xfrm>
            <a:off x="1505296" y="1602409"/>
            <a:ext cx="10115181" cy="1565592"/>
          </a:xfrm>
          <a:prstGeom prst="rect">
            <a:avLst/>
          </a:prstGeom>
          <a:solidFill>
            <a:schemeClr val="bg2"/>
          </a:solidFill>
        </p:spPr>
        <p:txBody>
          <a:bodyPr lIns="216000" rIns="216000" anchor="ctr"/>
          <a:lstStyle>
            <a:lvl1pPr marL="287338" indent="-2333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800" baseline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 baseline="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 baseline="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287338" indent="-233363">
              <a:buClr>
                <a:srgbClr val="00874E"/>
              </a:buClr>
              <a:buSzPct val="100000"/>
              <a:buFont typeface="Arial" panose="020B0604020202020204" pitchFamily="34" charset="0"/>
              <a:buChar char="•"/>
            </a:pPr>
            <a:r>
              <a:rPr lang="fr-CA" sz="20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ns votre modèle de présentation PowerPoint, choisissez l’onglet </a:t>
            </a:r>
            <a:r>
              <a:rPr lang="fr-CA" sz="20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éation</a:t>
            </a:r>
            <a:endParaRPr lang="fr-CA" sz="2000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287338" indent="-233363">
              <a:buClr>
                <a:srgbClr val="00874E"/>
              </a:buClr>
              <a:buSzPct val="100000"/>
              <a:buFont typeface="Arial" panose="020B0604020202020204" pitchFamily="34" charset="0"/>
              <a:buChar char="•"/>
            </a:pPr>
            <a:r>
              <a:rPr lang="fr-CA" sz="20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tilisez le menu déroulant des thèmes et cliquez sur </a:t>
            </a:r>
            <a:r>
              <a:rPr lang="fr-CA" sz="20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registrer le thème actif</a:t>
            </a:r>
          </a:p>
          <a:p>
            <a:pPr marL="287338" indent="-233363">
              <a:buClr>
                <a:srgbClr val="00874E"/>
              </a:buClr>
              <a:buSzPct val="100000"/>
              <a:buFont typeface="Arial" panose="020B0604020202020204" pitchFamily="34" charset="0"/>
              <a:buChar char="•"/>
            </a:pPr>
            <a:r>
              <a:rPr lang="fr-CA" sz="20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ommez le thème à sauvegarder (en tant que fichier THMX) et cliquez sur </a:t>
            </a:r>
            <a:r>
              <a:rPr lang="fr-CA" sz="20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registrer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5CC843E5-F461-4D90-807A-006113C606D9}"/>
              </a:ext>
            </a:extLst>
          </p:cNvPr>
          <p:cNvSpPr txBox="1">
            <a:spLocks/>
          </p:cNvSpPr>
          <p:nvPr/>
        </p:nvSpPr>
        <p:spPr>
          <a:xfrm>
            <a:off x="1247661" y="4580945"/>
            <a:ext cx="10944339" cy="6482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44000" tIns="45720" rIns="14400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None/>
              <a:tabLst/>
              <a:defRPr sz="2000" b="1">
                <a:solidFill>
                  <a:schemeClr val="bg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683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>
              <a:tabLst>
                <a:tab pos="1619250" algn="l"/>
              </a:tabLst>
              <a:defRPr/>
            </a:pPr>
            <a:r>
              <a:rPr lang="fr-CA" sz="1600" b="0" kern="0" noProof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	</a:t>
            </a:r>
            <a:endParaRPr lang="fr-CA" sz="1600" kern="0" noProof="0">
              <a:solidFill>
                <a:schemeClr val="accent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CB1381B-7D4B-4EC0-948A-F33D1A417E71}"/>
              </a:ext>
            </a:extLst>
          </p:cNvPr>
          <p:cNvSpPr txBox="1">
            <a:spLocks/>
          </p:cNvSpPr>
          <p:nvPr/>
        </p:nvSpPr>
        <p:spPr>
          <a:xfrm>
            <a:off x="1247661" y="5517049"/>
            <a:ext cx="10944339" cy="6482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44000" tIns="45720" rIns="14400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None/>
              <a:tabLst/>
              <a:defRPr sz="2000" b="1">
                <a:solidFill>
                  <a:schemeClr val="bg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683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>
              <a:tabLst>
                <a:tab pos="1619250" algn="l"/>
              </a:tabLst>
              <a:defRPr/>
            </a:pPr>
            <a:r>
              <a:rPr lang="fr-CA" sz="1600" b="0" kern="0" noProof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	</a:t>
            </a:r>
            <a:endParaRPr lang="fr-CA" sz="1600" kern="0" noProof="0">
              <a:solidFill>
                <a:schemeClr val="accent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3A67265-EDB5-4E1F-91F4-B36CEF6FB086}"/>
              </a:ext>
            </a:extLst>
          </p:cNvPr>
          <p:cNvSpPr txBox="1">
            <a:spLocks/>
          </p:cNvSpPr>
          <p:nvPr/>
        </p:nvSpPr>
        <p:spPr>
          <a:xfrm>
            <a:off x="1247437" y="3644841"/>
            <a:ext cx="10944339" cy="6482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44000" tIns="45720" rIns="14400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None/>
              <a:tabLst/>
              <a:defRPr sz="2000" b="1">
                <a:solidFill>
                  <a:schemeClr val="bg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683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>
              <a:tabLst>
                <a:tab pos="1619250" algn="l"/>
              </a:tabLst>
              <a:defRPr/>
            </a:pPr>
            <a:r>
              <a:rPr lang="fr-CA" sz="1600" b="0" kern="0" noProof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	</a:t>
            </a:r>
            <a:endParaRPr lang="fr-CA" sz="1600" kern="0" noProof="0">
              <a:solidFill>
                <a:schemeClr val="accent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37374085-8CB1-4987-BA33-E8EFBB892EC0}"/>
              </a:ext>
            </a:extLst>
          </p:cNvPr>
          <p:cNvSpPr/>
          <p:nvPr/>
        </p:nvSpPr>
        <p:spPr bwMode="auto">
          <a:xfrm>
            <a:off x="542661" y="1606721"/>
            <a:ext cx="800812" cy="1565592"/>
          </a:xfrm>
          <a:prstGeom prst="roundRect">
            <a:avLst>
              <a:gd name="adj" fmla="val 5129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20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Sauvegardez</a:t>
            </a: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D0CA32D6-F51A-41F0-A619-7254C92962F4}"/>
              </a:ext>
            </a:extLst>
          </p:cNvPr>
          <p:cNvSpPr/>
          <p:nvPr/>
        </p:nvSpPr>
        <p:spPr bwMode="auto">
          <a:xfrm>
            <a:off x="550801" y="3429000"/>
            <a:ext cx="800812" cy="2952328"/>
          </a:xfrm>
          <a:prstGeom prst="roundRect">
            <a:avLst>
              <a:gd name="adj" fmla="val 3975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20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Utilisez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FBF4161-9B49-4E65-9846-6C717073A271}"/>
              </a:ext>
            </a:extLst>
          </p:cNvPr>
          <p:cNvSpPr txBox="1">
            <a:spLocks/>
          </p:cNvSpPr>
          <p:nvPr/>
        </p:nvSpPr>
        <p:spPr>
          <a:xfrm>
            <a:off x="3206636" y="3690501"/>
            <a:ext cx="3019328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marR="0" lvl="0" indent="0" algn="l" defTabSz="4572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None/>
              <a:tabLst/>
              <a:defRPr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</a:t>
            </a:r>
            <a:r>
              <a:rPr lang="fr-CA" sz="1400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ur </a:t>
            </a:r>
            <a:r>
              <a:rPr lang="fr-CA" sz="1400" b="1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Fichier », « Nouveau », « Personnaliser »</a:t>
            </a:r>
            <a:endParaRPr lang="fr-CA" sz="1400" b="1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F739D32-3E20-41A4-85A8-8DF0D13F0143}"/>
              </a:ext>
            </a:extLst>
          </p:cNvPr>
          <p:cNvSpPr txBox="1">
            <a:spLocks/>
          </p:cNvSpPr>
          <p:nvPr/>
        </p:nvSpPr>
        <p:spPr>
          <a:xfrm>
            <a:off x="6762853" y="3690501"/>
            <a:ext cx="2530055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 sur </a:t>
            </a:r>
            <a:b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Document Themes »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2C65DD68-A42A-427C-BB1F-B6DC91083AB2}"/>
              </a:ext>
            </a:extLst>
          </p:cNvPr>
          <p:cNvSpPr/>
          <p:nvPr/>
        </p:nvSpPr>
        <p:spPr bwMode="auto">
          <a:xfrm>
            <a:off x="2713849" y="3740369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8B9A57DB-32A2-459F-9032-75472A5817B9}"/>
              </a:ext>
            </a:extLst>
          </p:cNvPr>
          <p:cNvSpPr/>
          <p:nvPr/>
        </p:nvSpPr>
        <p:spPr bwMode="auto">
          <a:xfrm>
            <a:off x="6324600" y="3740369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7974B8A-EFDD-414C-B6B5-976C4EF9A40B}"/>
              </a:ext>
            </a:extLst>
          </p:cNvPr>
          <p:cNvSpPr txBox="1">
            <a:spLocks/>
          </p:cNvSpPr>
          <p:nvPr/>
        </p:nvSpPr>
        <p:spPr>
          <a:xfrm>
            <a:off x="3206637" y="4626605"/>
            <a:ext cx="3211505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</a:t>
            </a:r>
            <a:r>
              <a:rPr lang="fr-CA" sz="1400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ur </a:t>
            </a:r>
            <a:r>
              <a:rPr lang="fr-CA" sz="1400" b="1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Fichier », « Nouveau »,</a:t>
            </a:r>
            <a:br>
              <a:rPr lang="fr-CA" sz="1400" b="1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fr-CA" sz="1400" b="1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Nouveau classeur »</a:t>
            </a:r>
            <a:endParaRPr lang="fr-CA" sz="1400" b="1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0880E0C-CC22-488A-B21D-55EFD42942FD}"/>
              </a:ext>
            </a:extLst>
          </p:cNvPr>
          <p:cNvSpPr txBox="1">
            <a:spLocks/>
          </p:cNvSpPr>
          <p:nvPr/>
        </p:nvSpPr>
        <p:spPr>
          <a:xfrm>
            <a:off x="6762851" y="4626605"/>
            <a:ext cx="2806627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ns l’onglet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ise en page</a:t>
            </a: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 sur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hème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D54D83FF-A43A-4220-8DEF-7BC1F5A4577C}"/>
              </a:ext>
            </a:extLst>
          </p:cNvPr>
          <p:cNvSpPr/>
          <p:nvPr/>
        </p:nvSpPr>
        <p:spPr bwMode="auto">
          <a:xfrm>
            <a:off x="2710984" y="4676473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82BA15D6-EEEA-4A71-9F69-141A428895D2}"/>
              </a:ext>
            </a:extLst>
          </p:cNvPr>
          <p:cNvSpPr/>
          <p:nvPr/>
        </p:nvSpPr>
        <p:spPr bwMode="auto">
          <a:xfrm>
            <a:off x="6324600" y="4676473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05B8AC57-D5EB-4C36-AB52-AA4FAE1CA8B4}"/>
              </a:ext>
            </a:extLst>
          </p:cNvPr>
          <p:cNvSpPr/>
          <p:nvPr/>
        </p:nvSpPr>
        <p:spPr bwMode="auto">
          <a:xfrm>
            <a:off x="9461711" y="4676473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D772AB97-F174-4498-9CFF-C44FBC7D4A8B}"/>
              </a:ext>
            </a:extLst>
          </p:cNvPr>
          <p:cNvSpPr txBox="1">
            <a:spLocks/>
          </p:cNvSpPr>
          <p:nvPr/>
        </p:nvSpPr>
        <p:spPr>
          <a:xfrm>
            <a:off x="3206637" y="5562709"/>
            <a:ext cx="3211505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</a:t>
            </a:r>
            <a:r>
              <a:rPr lang="fr-CA" sz="1400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ur </a:t>
            </a:r>
            <a:r>
              <a:rPr lang="fr-CA" sz="1400" b="1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Fichier », « Nouveau »,</a:t>
            </a: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Document vierge »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65F6779-2C27-4F83-BF5D-F3E69DCDBFA2}"/>
              </a:ext>
            </a:extLst>
          </p:cNvPr>
          <p:cNvSpPr txBox="1">
            <a:spLocks/>
          </p:cNvSpPr>
          <p:nvPr/>
        </p:nvSpPr>
        <p:spPr>
          <a:xfrm>
            <a:off x="9932951" y="5562709"/>
            <a:ext cx="2211721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isissez votre thème</a:t>
            </a:r>
            <a:endParaRPr lang="fr-CA" sz="1400" b="1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2CFB1EF2-01DD-4796-8C3F-7C36E7FDDD7E}"/>
              </a:ext>
            </a:extLst>
          </p:cNvPr>
          <p:cNvSpPr/>
          <p:nvPr/>
        </p:nvSpPr>
        <p:spPr bwMode="auto">
          <a:xfrm>
            <a:off x="2713849" y="5612576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38C7C691-F8AA-4692-BCCC-570B43FA8764}"/>
              </a:ext>
            </a:extLst>
          </p:cNvPr>
          <p:cNvSpPr/>
          <p:nvPr/>
        </p:nvSpPr>
        <p:spPr bwMode="auto">
          <a:xfrm>
            <a:off x="9461711" y="5612576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0CD4419-CCA5-490B-B564-648130F581F6}"/>
              </a:ext>
            </a:extLst>
          </p:cNvPr>
          <p:cNvSpPr txBox="1">
            <a:spLocks/>
          </p:cNvSpPr>
          <p:nvPr/>
        </p:nvSpPr>
        <p:spPr>
          <a:xfrm>
            <a:off x="9932947" y="3690501"/>
            <a:ext cx="2196011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isissez votre thème</a:t>
            </a:r>
            <a:endParaRPr lang="fr-CA" sz="1400" b="1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1" name="Ellipse 39">
            <a:extLst>
              <a:ext uri="{FF2B5EF4-FFF2-40B4-BE49-F238E27FC236}">
                <a16:creationId xmlns:a16="http://schemas.microsoft.com/office/drawing/2014/main" id="{53A11796-A3E6-45F4-9FAE-6536DC36F2A4}"/>
              </a:ext>
            </a:extLst>
          </p:cNvPr>
          <p:cNvSpPr/>
          <p:nvPr/>
        </p:nvSpPr>
        <p:spPr bwMode="auto">
          <a:xfrm>
            <a:off x="9461711" y="3740369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B8369A7-FF48-4E85-AD28-AC5F2171CAD6}"/>
              </a:ext>
            </a:extLst>
          </p:cNvPr>
          <p:cNvSpPr txBox="1">
            <a:spLocks/>
          </p:cNvSpPr>
          <p:nvPr/>
        </p:nvSpPr>
        <p:spPr>
          <a:xfrm>
            <a:off x="9932947" y="4626605"/>
            <a:ext cx="2133600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isissez votre thème</a:t>
            </a:r>
            <a:endParaRPr lang="fr-CA" sz="1400" b="1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D5BF9D55-54BE-4522-A417-DEC50DA82CCC}"/>
              </a:ext>
            </a:extLst>
          </p:cNvPr>
          <p:cNvSpPr txBox="1">
            <a:spLocks/>
          </p:cNvSpPr>
          <p:nvPr/>
        </p:nvSpPr>
        <p:spPr>
          <a:xfrm>
            <a:off x="6762853" y="5562709"/>
            <a:ext cx="2729759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ns l’onglet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éation</a:t>
            </a: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 sur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hème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5454ED12-155A-4691-9F4A-CD132624790C}"/>
              </a:ext>
            </a:extLst>
          </p:cNvPr>
          <p:cNvSpPr/>
          <p:nvPr/>
        </p:nvSpPr>
        <p:spPr bwMode="auto">
          <a:xfrm>
            <a:off x="6324600" y="5612576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35" name="Picture 4" descr="Résultats de recherche d'images pour « logo excel 2016 »">
            <a:extLst>
              <a:ext uri="{FF2B5EF4-FFF2-40B4-BE49-F238E27FC236}">
                <a16:creationId xmlns:a16="http://schemas.microsoft.com/office/drawing/2014/main" id="{0D02D027-969C-445D-9370-7926149D86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80031" y="4464665"/>
            <a:ext cx="951036" cy="880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8" descr="Résultats de recherche d'images pour « logo powerpoint 2016 »">
            <a:extLst>
              <a:ext uri="{FF2B5EF4-FFF2-40B4-BE49-F238E27FC236}">
                <a16:creationId xmlns:a16="http://schemas.microsoft.com/office/drawing/2014/main" id="{B320644C-6CA0-4DE6-A4B8-E4458E280C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98724" y="3528561"/>
            <a:ext cx="913650" cy="880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" descr="Résultats de recherche d'images pour « logo word 2016 »">
            <a:extLst>
              <a:ext uri="{FF2B5EF4-FFF2-40B4-BE49-F238E27FC236}">
                <a16:creationId xmlns:a16="http://schemas.microsoft.com/office/drawing/2014/main" id="{E66D5B7E-9CEB-4D6A-A7DE-B92C466445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61828" y="5400768"/>
            <a:ext cx="977290" cy="880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ZoneTexte 17">
            <a:extLst>
              <a:ext uri="{FF2B5EF4-FFF2-40B4-BE49-F238E27FC236}">
                <a16:creationId xmlns:a16="http://schemas.microsoft.com/office/drawing/2014/main" id="{E04851E5-4E02-43D5-8AB3-9EAA58B016C9}"/>
              </a:ext>
            </a:extLst>
          </p:cNvPr>
          <p:cNvSpPr txBox="1"/>
          <p:nvPr userDrawn="1"/>
        </p:nvSpPr>
        <p:spPr>
          <a:xfrm>
            <a:off x="550800" y="403200"/>
            <a:ext cx="11088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600" b="1">
                <a:latin typeface="+mn-lt"/>
              </a:rPr>
              <a:t>Sauvegardez votre </a:t>
            </a:r>
            <a:r>
              <a:rPr lang="fr-CA" sz="3600" b="1">
                <a:solidFill>
                  <a:schemeClr val="accent1"/>
                </a:solidFill>
                <a:latin typeface="+mn-lt"/>
              </a:rPr>
              <a:t>thème</a:t>
            </a:r>
            <a:r>
              <a:rPr lang="fr-CA" sz="3600" b="1">
                <a:latin typeface="+mn-lt"/>
              </a:rPr>
              <a:t> pour réutiliser vos couleurs </a:t>
            </a:r>
            <a:br>
              <a:rPr lang="fr-CA" sz="3600" b="1">
                <a:latin typeface="+mn-lt"/>
              </a:rPr>
            </a:br>
            <a:r>
              <a:rPr lang="fr-CA" sz="3600" b="1">
                <a:latin typeface="+mn-lt"/>
              </a:rPr>
              <a:t>et votre police préprogrammé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FD0D00DA-B9CF-4695-8EB9-20980CB1D92C}"/>
              </a:ext>
            </a:extLst>
          </p:cNvPr>
          <p:cNvSpPr txBox="1">
            <a:spLocks/>
          </p:cNvSpPr>
          <p:nvPr userDrawn="1"/>
        </p:nvSpPr>
        <p:spPr>
          <a:xfrm>
            <a:off x="1505296" y="1602409"/>
            <a:ext cx="10115181" cy="1565592"/>
          </a:xfrm>
          <a:prstGeom prst="rect">
            <a:avLst/>
          </a:prstGeom>
          <a:solidFill>
            <a:schemeClr val="bg2"/>
          </a:solidFill>
        </p:spPr>
        <p:txBody>
          <a:bodyPr lIns="216000" rIns="216000" anchor="ctr"/>
          <a:lstStyle>
            <a:lvl1pPr marL="287338" indent="-2333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800" baseline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 baseline="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 baseline="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287338" indent="-233363">
              <a:buClr>
                <a:srgbClr val="00874E"/>
              </a:buClr>
              <a:buSzPct val="100000"/>
              <a:buFont typeface="Arial" panose="020B0604020202020204" pitchFamily="34" charset="0"/>
              <a:buChar char="•"/>
            </a:pPr>
            <a:r>
              <a:rPr lang="fr-CA" sz="20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ns votre modèle de présentation PowerPoint, choisissez l’onglet </a:t>
            </a:r>
            <a:r>
              <a:rPr lang="fr-CA" sz="20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éation</a:t>
            </a:r>
            <a:endParaRPr lang="fr-CA" sz="2000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287338" indent="-233363">
              <a:buClr>
                <a:srgbClr val="00874E"/>
              </a:buClr>
              <a:buSzPct val="100000"/>
              <a:buFont typeface="Arial" panose="020B0604020202020204" pitchFamily="34" charset="0"/>
              <a:buChar char="•"/>
            </a:pPr>
            <a:r>
              <a:rPr lang="fr-CA" sz="20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tilisez le menu déroulant des thèmes et cliquez sur </a:t>
            </a:r>
            <a:r>
              <a:rPr lang="fr-CA" sz="20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registrer le thème actif</a:t>
            </a:r>
          </a:p>
          <a:p>
            <a:pPr marL="287338" indent="-233363">
              <a:buClr>
                <a:srgbClr val="00874E"/>
              </a:buClr>
              <a:buSzPct val="100000"/>
              <a:buFont typeface="Arial" panose="020B0604020202020204" pitchFamily="34" charset="0"/>
              <a:buChar char="•"/>
            </a:pPr>
            <a:r>
              <a:rPr lang="fr-CA" sz="20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ommez le thème à sauvegarder (en tant que fichier THMX) et cliquez sur </a:t>
            </a:r>
            <a:r>
              <a:rPr lang="fr-CA" sz="20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registrer</a:t>
            </a:r>
          </a:p>
        </p:txBody>
      </p:sp>
      <p:sp>
        <p:nvSpPr>
          <p:cNvPr id="40" name="Text Placeholder 9">
            <a:extLst>
              <a:ext uri="{FF2B5EF4-FFF2-40B4-BE49-F238E27FC236}">
                <a16:creationId xmlns:a16="http://schemas.microsoft.com/office/drawing/2014/main" id="{0FBA7C4B-95F6-445A-8C4D-EA6D695B9A0D}"/>
              </a:ext>
            </a:extLst>
          </p:cNvPr>
          <p:cNvSpPr txBox="1">
            <a:spLocks/>
          </p:cNvSpPr>
          <p:nvPr userDrawn="1"/>
        </p:nvSpPr>
        <p:spPr>
          <a:xfrm>
            <a:off x="1247661" y="4580945"/>
            <a:ext cx="10944339" cy="6482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44000" tIns="45720" rIns="14400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None/>
              <a:tabLst/>
              <a:defRPr sz="2000" b="1">
                <a:solidFill>
                  <a:schemeClr val="bg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683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>
              <a:tabLst>
                <a:tab pos="1619250" algn="l"/>
              </a:tabLst>
              <a:defRPr/>
            </a:pPr>
            <a:r>
              <a:rPr lang="fr-CA" sz="1600" b="0" kern="0" noProof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	</a:t>
            </a:r>
            <a:endParaRPr lang="fr-CA" sz="1600" kern="0" noProof="0">
              <a:solidFill>
                <a:schemeClr val="accent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36809587-C3D5-471A-8EB6-4F6223E194A0}"/>
              </a:ext>
            </a:extLst>
          </p:cNvPr>
          <p:cNvSpPr txBox="1">
            <a:spLocks/>
          </p:cNvSpPr>
          <p:nvPr userDrawn="1"/>
        </p:nvSpPr>
        <p:spPr>
          <a:xfrm>
            <a:off x="1247661" y="5517049"/>
            <a:ext cx="10944339" cy="6482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44000" tIns="45720" rIns="14400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None/>
              <a:tabLst/>
              <a:defRPr sz="2000" b="1">
                <a:solidFill>
                  <a:schemeClr val="bg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683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>
              <a:tabLst>
                <a:tab pos="1619250" algn="l"/>
              </a:tabLst>
              <a:defRPr/>
            </a:pPr>
            <a:r>
              <a:rPr lang="fr-CA" sz="1600" b="0" kern="0" noProof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	</a:t>
            </a:r>
            <a:endParaRPr lang="fr-CA" sz="1600" kern="0" noProof="0">
              <a:solidFill>
                <a:schemeClr val="accent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2" name="Text Placeholder 9">
            <a:extLst>
              <a:ext uri="{FF2B5EF4-FFF2-40B4-BE49-F238E27FC236}">
                <a16:creationId xmlns:a16="http://schemas.microsoft.com/office/drawing/2014/main" id="{3A837E6F-EDBA-4F3D-A6DF-2E6B52314231}"/>
              </a:ext>
            </a:extLst>
          </p:cNvPr>
          <p:cNvSpPr txBox="1">
            <a:spLocks/>
          </p:cNvSpPr>
          <p:nvPr userDrawn="1"/>
        </p:nvSpPr>
        <p:spPr>
          <a:xfrm>
            <a:off x="1247437" y="3644841"/>
            <a:ext cx="10944339" cy="6482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44000" tIns="45720" rIns="144000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75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None/>
              <a:tabLst/>
              <a:defRPr sz="2000" b="1">
                <a:solidFill>
                  <a:schemeClr val="bg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68338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>
              <a:tabLst>
                <a:tab pos="1619250" algn="l"/>
              </a:tabLst>
              <a:defRPr/>
            </a:pPr>
            <a:r>
              <a:rPr lang="fr-CA" sz="1600" b="0" kern="0" noProof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	</a:t>
            </a:r>
            <a:endParaRPr lang="fr-CA" sz="1600" kern="0" noProof="0">
              <a:solidFill>
                <a:schemeClr val="accent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3" name="Rectangle : coins arrondis 13">
            <a:extLst>
              <a:ext uri="{FF2B5EF4-FFF2-40B4-BE49-F238E27FC236}">
                <a16:creationId xmlns:a16="http://schemas.microsoft.com/office/drawing/2014/main" id="{6967A5FD-A1E3-4F62-9A18-3328E1A3ADFB}"/>
              </a:ext>
            </a:extLst>
          </p:cNvPr>
          <p:cNvSpPr/>
          <p:nvPr userDrawn="1"/>
        </p:nvSpPr>
        <p:spPr bwMode="auto">
          <a:xfrm>
            <a:off x="542661" y="1606721"/>
            <a:ext cx="800812" cy="1565592"/>
          </a:xfrm>
          <a:prstGeom prst="roundRect">
            <a:avLst>
              <a:gd name="adj" fmla="val 5129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20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Sauvegardez</a:t>
            </a:r>
          </a:p>
        </p:txBody>
      </p:sp>
      <p:sp>
        <p:nvSpPr>
          <p:cNvPr id="44" name="Rectangle : coins arrondis 14">
            <a:extLst>
              <a:ext uri="{FF2B5EF4-FFF2-40B4-BE49-F238E27FC236}">
                <a16:creationId xmlns:a16="http://schemas.microsoft.com/office/drawing/2014/main" id="{12851121-B396-4E22-ADB6-5E28AB86D00E}"/>
              </a:ext>
            </a:extLst>
          </p:cNvPr>
          <p:cNvSpPr/>
          <p:nvPr userDrawn="1"/>
        </p:nvSpPr>
        <p:spPr bwMode="auto">
          <a:xfrm>
            <a:off x="550801" y="3429000"/>
            <a:ext cx="800812" cy="2952328"/>
          </a:xfrm>
          <a:prstGeom prst="roundRect">
            <a:avLst>
              <a:gd name="adj" fmla="val 3975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vert="vert270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20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Utilisez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AE0A02B-E8EC-49A5-A0AA-6264D3F8CCD4}"/>
              </a:ext>
            </a:extLst>
          </p:cNvPr>
          <p:cNvSpPr txBox="1">
            <a:spLocks/>
          </p:cNvSpPr>
          <p:nvPr userDrawn="1"/>
        </p:nvSpPr>
        <p:spPr>
          <a:xfrm>
            <a:off x="3206636" y="3690501"/>
            <a:ext cx="3019328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marR="0" lvl="0" indent="0" algn="l" defTabSz="4572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None/>
              <a:tabLst/>
              <a:defRPr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</a:t>
            </a:r>
            <a:r>
              <a:rPr lang="fr-CA" sz="1400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ur </a:t>
            </a:r>
            <a:r>
              <a:rPr lang="fr-CA" sz="1400" b="1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Fichier », « Nouveau », « Personnaliser »</a:t>
            </a:r>
            <a:endParaRPr lang="fr-CA" sz="1400" b="1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19E4B41-FBBB-4FAF-B09E-E333E786AF66}"/>
              </a:ext>
            </a:extLst>
          </p:cNvPr>
          <p:cNvSpPr txBox="1">
            <a:spLocks/>
          </p:cNvSpPr>
          <p:nvPr userDrawn="1"/>
        </p:nvSpPr>
        <p:spPr>
          <a:xfrm>
            <a:off x="6762853" y="3690501"/>
            <a:ext cx="2530055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 sur </a:t>
            </a:r>
            <a:b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Document Themes »</a:t>
            </a:r>
          </a:p>
        </p:txBody>
      </p:sp>
      <p:sp>
        <p:nvSpPr>
          <p:cNvPr id="47" name="Ellipse 18">
            <a:extLst>
              <a:ext uri="{FF2B5EF4-FFF2-40B4-BE49-F238E27FC236}">
                <a16:creationId xmlns:a16="http://schemas.microsoft.com/office/drawing/2014/main" id="{06F473AA-89A1-4DFE-90C8-021B9F837658}"/>
              </a:ext>
            </a:extLst>
          </p:cNvPr>
          <p:cNvSpPr/>
          <p:nvPr userDrawn="1"/>
        </p:nvSpPr>
        <p:spPr bwMode="auto">
          <a:xfrm>
            <a:off x="2713849" y="3740369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8" name="Ellipse 19">
            <a:extLst>
              <a:ext uri="{FF2B5EF4-FFF2-40B4-BE49-F238E27FC236}">
                <a16:creationId xmlns:a16="http://schemas.microsoft.com/office/drawing/2014/main" id="{8949C8E1-2DA4-4AA1-90D5-5F13ADC75DF8}"/>
              </a:ext>
            </a:extLst>
          </p:cNvPr>
          <p:cNvSpPr/>
          <p:nvPr userDrawn="1"/>
        </p:nvSpPr>
        <p:spPr bwMode="auto">
          <a:xfrm>
            <a:off x="6324600" y="3740369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B6FC73A-0BA6-464C-BE3F-62BEB9AD76D1}"/>
              </a:ext>
            </a:extLst>
          </p:cNvPr>
          <p:cNvSpPr txBox="1">
            <a:spLocks/>
          </p:cNvSpPr>
          <p:nvPr userDrawn="1"/>
        </p:nvSpPr>
        <p:spPr>
          <a:xfrm>
            <a:off x="3206637" y="4626605"/>
            <a:ext cx="3211505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</a:t>
            </a:r>
            <a:r>
              <a:rPr lang="fr-CA" sz="1400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ur </a:t>
            </a:r>
            <a:r>
              <a:rPr lang="fr-CA" sz="1400" b="1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Fichier », « Nouveau »,</a:t>
            </a:r>
            <a:br>
              <a:rPr lang="fr-CA" sz="1400" b="1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fr-CA" sz="1400" b="1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Nouveau classeur »</a:t>
            </a:r>
            <a:endParaRPr lang="fr-CA" sz="1400" b="1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734DE50E-CC4E-418F-8F8D-FD96E1DA9628}"/>
              </a:ext>
            </a:extLst>
          </p:cNvPr>
          <p:cNvSpPr txBox="1">
            <a:spLocks/>
          </p:cNvSpPr>
          <p:nvPr userDrawn="1"/>
        </p:nvSpPr>
        <p:spPr>
          <a:xfrm>
            <a:off x="6762851" y="4626605"/>
            <a:ext cx="2806627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ns l’onglet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ise en page</a:t>
            </a: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 sur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hème</a:t>
            </a:r>
          </a:p>
        </p:txBody>
      </p:sp>
      <p:sp>
        <p:nvSpPr>
          <p:cNvPr id="51" name="Ellipse 22">
            <a:extLst>
              <a:ext uri="{FF2B5EF4-FFF2-40B4-BE49-F238E27FC236}">
                <a16:creationId xmlns:a16="http://schemas.microsoft.com/office/drawing/2014/main" id="{5C8F752E-B4BE-440C-9DD3-154EDC090076}"/>
              </a:ext>
            </a:extLst>
          </p:cNvPr>
          <p:cNvSpPr/>
          <p:nvPr userDrawn="1"/>
        </p:nvSpPr>
        <p:spPr bwMode="auto">
          <a:xfrm>
            <a:off x="2710984" y="4676473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2" name="Ellipse 23">
            <a:extLst>
              <a:ext uri="{FF2B5EF4-FFF2-40B4-BE49-F238E27FC236}">
                <a16:creationId xmlns:a16="http://schemas.microsoft.com/office/drawing/2014/main" id="{C41244F9-974A-4EA7-8AFB-E04C600A50A6}"/>
              </a:ext>
            </a:extLst>
          </p:cNvPr>
          <p:cNvSpPr/>
          <p:nvPr userDrawn="1"/>
        </p:nvSpPr>
        <p:spPr bwMode="auto">
          <a:xfrm>
            <a:off x="6324600" y="4676473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3" name="Ellipse 24">
            <a:extLst>
              <a:ext uri="{FF2B5EF4-FFF2-40B4-BE49-F238E27FC236}">
                <a16:creationId xmlns:a16="http://schemas.microsoft.com/office/drawing/2014/main" id="{F2AE1A42-4605-4EBA-BC5C-6D55F518BAC8}"/>
              </a:ext>
            </a:extLst>
          </p:cNvPr>
          <p:cNvSpPr/>
          <p:nvPr userDrawn="1"/>
        </p:nvSpPr>
        <p:spPr bwMode="auto">
          <a:xfrm>
            <a:off x="9461711" y="4676473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477BAB00-C2B5-490F-BFE9-44BE079D93D8}"/>
              </a:ext>
            </a:extLst>
          </p:cNvPr>
          <p:cNvSpPr txBox="1">
            <a:spLocks/>
          </p:cNvSpPr>
          <p:nvPr userDrawn="1"/>
        </p:nvSpPr>
        <p:spPr>
          <a:xfrm>
            <a:off x="3206637" y="5562709"/>
            <a:ext cx="3211505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</a:t>
            </a:r>
            <a:r>
              <a:rPr lang="fr-CA" sz="1400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ur </a:t>
            </a:r>
            <a:r>
              <a:rPr lang="fr-CA" sz="1400" b="1" kern="0" baseline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Fichier », « Nouveau »,</a:t>
            </a: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« Document vierge »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F4583BA1-A0D1-460E-A226-0522600C3F71}"/>
              </a:ext>
            </a:extLst>
          </p:cNvPr>
          <p:cNvSpPr txBox="1">
            <a:spLocks/>
          </p:cNvSpPr>
          <p:nvPr userDrawn="1"/>
        </p:nvSpPr>
        <p:spPr>
          <a:xfrm>
            <a:off x="9932951" y="5562709"/>
            <a:ext cx="2211721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isissez votre thème</a:t>
            </a:r>
            <a:endParaRPr lang="fr-CA" sz="1400" b="1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6" name="Ellipse 27">
            <a:extLst>
              <a:ext uri="{FF2B5EF4-FFF2-40B4-BE49-F238E27FC236}">
                <a16:creationId xmlns:a16="http://schemas.microsoft.com/office/drawing/2014/main" id="{1ED095BE-1D76-4097-B2CC-DAAE3C9DDF72}"/>
              </a:ext>
            </a:extLst>
          </p:cNvPr>
          <p:cNvSpPr/>
          <p:nvPr userDrawn="1"/>
        </p:nvSpPr>
        <p:spPr bwMode="auto">
          <a:xfrm>
            <a:off x="2713849" y="5612576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7" name="Ellipse 28">
            <a:extLst>
              <a:ext uri="{FF2B5EF4-FFF2-40B4-BE49-F238E27FC236}">
                <a16:creationId xmlns:a16="http://schemas.microsoft.com/office/drawing/2014/main" id="{FCCA9AA2-30F2-4463-BFFE-3D5B73AC5C41}"/>
              </a:ext>
            </a:extLst>
          </p:cNvPr>
          <p:cNvSpPr/>
          <p:nvPr userDrawn="1"/>
        </p:nvSpPr>
        <p:spPr bwMode="auto">
          <a:xfrm>
            <a:off x="9461711" y="5612576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B9F0F3C6-F854-4FEA-B0A1-2B5E439ED845}"/>
              </a:ext>
            </a:extLst>
          </p:cNvPr>
          <p:cNvSpPr txBox="1">
            <a:spLocks/>
          </p:cNvSpPr>
          <p:nvPr userDrawn="1"/>
        </p:nvSpPr>
        <p:spPr>
          <a:xfrm>
            <a:off x="9932947" y="3690501"/>
            <a:ext cx="2196011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isissez votre thème</a:t>
            </a:r>
            <a:endParaRPr lang="fr-CA" sz="1400" b="1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9" name="Ellipse 39">
            <a:extLst>
              <a:ext uri="{FF2B5EF4-FFF2-40B4-BE49-F238E27FC236}">
                <a16:creationId xmlns:a16="http://schemas.microsoft.com/office/drawing/2014/main" id="{44B179BD-A327-4798-81A0-BC29703A026B}"/>
              </a:ext>
            </a:extLst>
          </p:cNvPr>
          <p:cNvSpPr/>
          <p:nvPr userDrawn="1"/>
        </p:nvSpPr>
        <p:spPr bwMode="auto">
          <a:xfrm>
            <a:off x="9461711" y="3740369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66B43079-EC26-4614-AB29-DDFC371421B4}"/>
              </a:ext>
            </a:extLst>
          </p:cNvPr>
          <p:cNvSpPr txBox="1">
            <a:spLocks/>
          </p:cNvSpPr>
          <p:nvPr userDrawn="1"/>
        </p:nvSpPr>
        <p:spPr>
          <a:xfrm>
            <a:off x="9932947" y="4626605"/>
            <a:ext cx="2133600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isissez votre thème</a:t>
            </a:r>
            <a:endParaRPr lang="fr-CA" sz="1400" b="1" kern="0" noProof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5BA95D7A-268C-4396-9929-89499E72C88B}"/>
              </a:ext>
            </a:extLst>
          </p:cNvPr>
          <p:cNvSpPr txBox="1">
            <a:spLocks/>
          </p:cNvSpPr>
          <p:nvPr userDrawn="1"/>
        </p:nvSpPr>
        <p:spPr>
          <a:xfrm>
            <a:off x="6762853" y="5562709"/>
            <a:ext cx="2729759" cy="556935"/>
          </a:xfrm>
          <a:prstGeom prst="rect">
            <a:avLst/>
          </a:prstGeom>
          <a:noFill/>
        </p:spPr>
        <p:txBody>
          <a:bodyPr lIns="91440" anchor="ctr"/>
          <a:lstStyle>
            <a:lvl1pPr marL="339725" indent="-28575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lang="fr-CA" sz="1800" baseline="0" noProof="0" dirty="0" smtClean="0">
                <a:solidFill>
                  <a:schemeClr val="accent1"/>
                </a:solidFill>
                <a:latin typeface="+mn-lt"/>
                <a:ea typeface="+mn-ea"/>
                <a:cs typeface="ＭＳ Ｐゴシック" charset="0"/>
              </a:defRPr>
            </a:lvl1pPr>
            <a:lvl2pPr marL="481013" indent="-195263" algn="l" rtl="0" eaLnBrk="1" fontAlgn="base" hangingPunct="1">
              <a:spcBef>
                <a:spcPts val="200"/>
              </a:spcBef>
              <a:spcAft>
                <a:spcPct val="0"/>
              </a:spcAft>
              <a:buClr>
                <a:srgbClr val="3597BF"/>
              </a:buClr>
              <a:buSzPct val="85000"/>
              <a:buFont typeface="Wingdings" charset="0"/>
              <a:buChar char="n"/>
              <a:defRPr sz="1600">
                <a:solidFill>
                  <a:schemeClr val="accent1"/>
                </a:solidFill>
                <a:latin typeface="+mn-lt"/>
                <a:ea typeface="+mn-ea"/>
              </a:defRPr>
            </a:lvl2pPr>
            <a:lvl3pPr marL="627063" indent="-144463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3pPr>
            <a:lvl4pPr marL="863600" indent="-193675" algn="l" rtl="0" eaLnBrk="1" fontAlgn="base" hangingPunct="1">
              <a:spcBef>
                <a:spcPct val="15000"/>
              </a:spcBef>
              <a:spcAft>
                <a:spcPct val="0"/>
              </a:spcAft>
              <a:buClr>
                <a:srgbClr val="3597BF"/>
              </a:buClr>
              <a:buSzPct val="80000"/>
              <a:buFont typeface="Wingdings" charset="0"/>
              <a:buChar char="n"/>
              <a:defRPr sz="1400">
                <a:solidFill>
                  <a:schemeClr val="accent1"/>
                </a:solidFill>
                <a:latin typeface="+mn-lt"/>
                <a:ea typeface="+mn-ea"/>
              </a:defRPr>
            </a:lvl4pPr>
            <a:lvl5pPr marL="21351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5pPr>
            <a:lvl6pPr marL="25923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6pPr>
            <a:lvl7pPr marL="30495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7pPr>
            <a:lvl8pPr marL="35067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8pPr>
            <a:lvl9pPr marL="39639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charset="0"/>
                <a:ea typeface="+mn-ea"/>
              </a:defRPr>
            </a:lvl9pPr>
          </a:lstStyle>
          <a:p>
            <a:pPr marL="53975" indent="0"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ns l’onglet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éation</a:t>
            </a: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quez sur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hème</a:t>
            </a:r>
          </a:p>
        </p:txBody>
      </p:sp>
      <p:sp>
        <p:nvSpPr>
          <p:cNvPr id="62" name="Ellipse 33">
            <a:extLst>
              <a:ext uri="{FF2B5EF4-FFF2-40B4-BE49-F238E27FC236}">
                <a16:creationId xmlns:a16="http://schemas.microsoft.com/office/drawing/2014/main" id="{5D0C606A-F723-476A-ADE1-10FFD3EC8FB5}"/>
              </a:ext>
            </a:extLst>
          </p:cNvPr>
          <p:cNvSpPr/>
          <p:nvPr userDrawn="1"/>
        </p:nvSpPr>
        <p:spPr bwMode="auto">
          <a:xfrm>
            <a:off x="6324600" y="5612576"/>
            <a:ext cx="457200" cy="4572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400" b="1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63" name="Picture 4" descr="Résultats de recherche d'images pour « logo excel 2016 »">
            <a:extLst>
              <a:ext uri="{FF2B5EF4-FFF2-40B4-BE49-F238E27FC236}">
                <a16:creationId xmlns:a16="http://schemas.microsoft.com/office/drawing/2014/main" id="{775C1F90-4C14-4D68-A823-4872F1E0911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80031" y="4464665"/>
            <a:ext cx="951036" cy="880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8" descr="Résultats de recherche d'images pour « logo powerpoint 2016 »">
            <a:extLst>
              <a:ext uri="{FF2B5EF4-FFF2-40B4-BE49-F238E27FC236}">
                <a16:creationId xmlns:a16="http://schemas.microsoft.com/office/drawing/2014/main" id="{1BA1E0C3-16E3-4596-83EA-C9F6016A588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98724" y="3528561"/>
            <a:ext cx="913650" cy="880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" descr="Résultats de recherche d'images pour « logo word 2016 »">
            <a:extLst>
              <a:ext uri="{FF2B5EF4-FFF2-40B4-BE49-F238E27FC236}">
                <a16:creationId xmlns:a16="http://schemas.microsoft.com/office/drawing/2014/main" id="{12E9E4E3-449B-4BBA-9A2C-622C8E52855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61828" y="5400768"/>
            <a:ext cx="977290" cy="880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308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éfinir votre thème par défa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93FCA1B-6429-49EE-BAC5-FC3C2B33F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0C0B1C1-7F35-40EB-992A-1607F263A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DF78B49-AF56-4051-8181-8E55E7711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2C4E7F3-1A27-4B52-8C68-AB0E9FA3E98C}"/>
              </a:ext>
            </a:extLst>
          </p:cNvPr>
          <p:cNvSpPr txBox="1"/>
          <p:nvPr/>
        </p:nvSpPr>
        <p:spPr>
          <a:xfrm>
            <a:off x="550800" y="403200"/>
            <a:ext cx="11088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600" b="1"/>
              <a:t>Définissez votre thème comme </a:t>
            </a:r>
            <a:r>
              <a:rPr lang="fr-CA" sz="3600" b="1">
                <a:solidFill>
                  <a:schemeClr val="accent1"/>
                </a:solidFill>
              </a:rPr>
              <a:t>thème par défaut </a:t>
            </a:r>
            <a:br>
              <a:rPr lang="fr-CA" sz="3600" b="1"/>
            </a:br>
            <a:r>
              <a:rPr lang="fr-CA" sz="3600" b="1"/>
              <a:t>dans chaque logiciel pour accroître votre efficacité</a:t>
            </a:r>
          </a:p>
        </p:txBody>
      </p:sp>
      <p:sp>
        <p:nvSpPr>
          <p:cNvPr id="38" name="Rectangle : coins arrondis 37">
            <a:extLst>
              <a:ext uri="{FF2B5EF4-FFF2-40B4-BE49-F238E27FC236}">
                <a16:creationId xmlns:a16="http://schemas.microsoft.com/office/drawing/2014/main" id="{910495ED-0D1B-4DC4-BDB5-D7A9D73EB39E}"/>
              </a:ext>
            </a:extLst>
          </p:cNvPr>
          <p:cNvSpPr/>
          <p:nvPr/>
        </p:nvSpPr>
        <p:spPr bwMode="auto">
          <a:xfrm>
            <a:off x="2524803" y="1484784"/>
            <a:ext cx="4379511" cy="576000"/>
          </a:xfrm>
          <a:prstGeom prst="roundRect">
            <a:avLst>
              <a:gd name="adj" fmla="val 5878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2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Sauvegardez par défaut</a:t>
            </a:r>
          </a:p>
        </p:txBody>
      </p:sp>
      <p:sp>
        <p:nvSpPr>
          <p:cNvPr id="39" name="Rectangle : coins arrondis 38">
            <a:extLst>
              <a:ext uri="{FF2B5EF4-FFF2-40B4-BE49-F238E27FC236}">
                <a16:creationId xmlns:a16="http://schemas.microsoft.com/office/drawing/2014/main" id="{445E4907-243A-498E-BA9F-A53A0E72BF61}"/>
              </a:ext>
            </a:extLst>
          </p:cNvPr>
          <p:cNvSpPr/>
          <p:nvPr/>
        </p:nvSpPr>
        <p:spPr bwMode="auto">
          <a:xfrm>
            <a:off x="7241293" y="1484784"/>
            <a:ext cx="4379511" cy="576000"/>
          </a:xfrm>
          <a:prstGeom prst="roundRect">
            <a:avLst>
              <a:gd name="adj" fmla="val 5878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2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Utilisez</a:t>
            </a:r>
          </a:p>
        </p:txBody>
      </p:sp>
      <p:sp>
        <p:nvSpPr>
          <p:cNvPr id="40" name="Espace réservé du texte 14">
            <a:extLst>
              <a:ext uri="{FF2B5EF4-FFF2-40B4-BE49-F238E27FC236}">
                <a16:creationId xmlns:a16="http://schemas.microsoft.com/office/drawing/2014/main" id="{DFDF93FE-D80C-4ABC-8194-A2A7CC1B61B1}"/>
              </a:ext>
            </a:extLst>
          </p:cNvPr>
          <p:cNvSpPr txBox="1">
            <a:spLocks/>
          </p:cNvSpPr>
          <p:nvPr/>
        </p:nvSpPr>
        <p:spPr>
          <a:xfrm>
            <a:off x="2525056" y="2204864"/>
            <a:ext cx="4379509" cy="1080000"/>
          </a:xfrm>
          <a:prstGeom prst="roundRect">
            <a:avLst>
              <a:gd name="adj" fmla="val 556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08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Dans le menu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Création</a:t>
            </a:r>
            <a:r>
              <a:rPr lang="fr-CA" sz="1400" kern="0" noProof="0">
                <a:latin typeface="+mn-lt"/>
                <a:cs typeface="Arial" panose="020B0604020202020204" pitchFamily="34" charset="0"/>
              </a:rPr>
              <a:t>, cliquez avec le bouton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de droite sur votre thème</a:t>
            </a:r>
          </a:p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Choisissez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Définir comme thème par défaut</a:t>
            </a:r>
          </a:p>
        </p:txBody>
      </p:sp>
      <p:sp>
        <p:nvSpPr>
          <p:cNvPr id="41" name="Espace réservé du texte 62">
            <a:extLst>
              <a:ext uri="{FF2B5EF4-FFF2-40B4-BE49-F238E27FC236}">
                <a16:creationId xmlns:a16="http://schemas.microsoft.com/office/drawing/2014/main" id="{CEB537A1-ED67-4949-B243-9DA429FED293}"/>
              </a:ext>
            </a:extLst>
          </p:cNvPr>
          <p:cNvSpPr txBox="1">
            <a:spLocks/>
          </p:cNvSpPr>
          <p:nvPr/>
        </p:nvSpPr>
        <p:spPr>
          <a:xfrm>
            <a:off x="2525053" y="3428688"/>
            <a:ext cx="4377600" cy="1656000"/>
          </a:xfrm>
          <a:prstGeom prst="roundRect">
            <a:avLst>
              <a:gd name="adj" fmla="val 3315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08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Dans un classeur Excel vide, sous le menu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Mise en page</a:t>
            </a:r>
            <a:r>
              <a:rPr lang="fr-CA" sz="1400" kern="0" noProof="0">
                <a:latin typeface="+mn-lt"/>
                <a:cs typeface="Arial" panose="020B0604020202020204" pitchFamily="34" charset="0"/>
              </a:rPr>
              <a:t>, choisissez votre thème </a:t>
            </a:r>
          </a:p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Dans le menu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Fichier</a:t>
            </a:r>
            <a:r>
              <a:rPr lang="fr-CA" sz="1400" kern="0" noProof="0">
                <a:latin typeface="+mn-lt"/>
                <a:cs typeface="Arial" panose="020B0604020202020204" pitchFamily="34" charset="0"/>
              </a:rPr>
              <a:t>, cliquez sur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Enregistrer sous</a:t>
            </a:r>
          </a:p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Enregistrez en tant que modèle XLTX en lui donnant un nom et fermez Excel</a:t>
            </a:r>
          </a:p>
        </p:txBody>
      </p:sp>
      <p:sp>
        <p:nvSpPr>
          <p:cNvPr id="42" name="Espace réservé du texte 1023">
            <a:extLst>
              <a:ext uri="{FF2B5EF4-FFF2-40B4-BE49-F238E27FC236}">
                <a16:creationId xmlns:a16="http://schemas.microsoft.com/office/drawing/2014/main" id="{E9260BCB-965D-4F9C-AB4E-A4EDE07349AB}"/>
              </a:ext>
            </a:extLst>
          </p:cNvPr>
          <p:cNvSpPr txBox="1">
            <a:spLocks/>
          </p:cNvSpPr>
          <p:nvPr/>
        </p:nvSpPr>
        <p:spPr>
          <a:xfrm>
            <a:off x="2525056" y="5228888"/>
            <a:ext cx="4379509" cy="1080000"/>
          </a:xfrm>
          <a:prstGeom prst="roundRect">
            <a:avLst>
              <a:gd name="adj" fmla="val 5949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08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Dans le menu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Création</a:t>
            </a:r>
            <a:r>
              <a:rPr lang="fr-CA" sz="1400" kern="0" noProof="0">
                <a:latin typeface="+mn-lt"/>
                <a:cs typeface="Arial" panose="020B0604020202020204" pitchFamily="34" charset="0"/>
              </a:rPr>
              <a:t>, choisissez votre thème</a:t>
            </a:r>
          </a:p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Toujours dans le menu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Création</a:t>
            </a:r>
            <a:r>
              <a:rPr lang="fr-CA" sz="1400" kern="0" noProof="0">
                <a:latin typeface="+mn-lt"/>
                <a:cs typeface="Arial" panose="020B0604020202020204" pitchFamily="34" charset="0"/>
              </a:rPr>
              <a:t>, cliquez sur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Définir par défaut</a:t>
            </a:r>
          </a:p>
        </p:txBody>
      </p:sp>
      <p:sp>
        <p:nvSpPr>
          <p:cNvPr id="43" name="Espace réservé du texte 1024">
            <a:extLst>
              <a:ext uri="{FF2B5EF4-FFF2-40B4-BE49-F238E27FC236}">
                <a16:creationId xmlns:a16="http://schemas.microsoft.com/office/drawing/2014/main" id="{CE81C6B6-9D11-4DAD-B159-144DC3A26627}"/>
              </a:ext>
            </a:extLst>
          </p:cNvPr>
          <p:cNvSpPr txBox="1">
            <a:spLocks/>
          </p:cNvSpPr>
          <p:nvPr/>
        </p:nvSpPr>
        <p:spPr>
          <a:xfrm>
            <a:off x="7241291" y="2204864"/>
            <a:ext cx="4377600" cy="1080000"/>
          </a:xfrm>
          <a:prstGeom prst="roundRect">
            <a:avLst>
              <a:gd name="adj" fmla="val 556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44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600"/>
              </a:spcBef>
              <a:buFont typeface="Arial" pitchFamily="34" charset="0"/>
              <a:buNone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Après avoir démarré PowerPoint, votre thème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par défaut sera toujours le premier proposé, en haut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à gauche, sous le nom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Default Theme </a:t>
            </a:r>
            <a:br>
              <a:rPr lang="fr-CA" sz="1400" b="1" kern="0" noProof="0">
                <a:latin typeface="+mn-lt"/>
                <a:cs typeface="Arial" panose="020B0604020202020204" pitchFamily="34" charset="0"/>
              </a:rPr>
            </a:br>
            <a:r>
              <a:rPr lang="fr-CA" sz="1400" i="1" kern="0" noProof="0">
                <a:latin typeface="+mn-lt"/>
                <a:cs typeface="Arial" panose="020B0604020202020204" pitchFamily="34" charset="0"/>
              </a:rPr>
              <a:t>(et non sous son nom original)</a:t>
            </a:r>
          </a:p>
        </p:txBody>
      </p:sp>
      <p:sp>
        <p:nvSpPr>
          <p:cNvPr id="44" name="Espace réservé du texte 1024">
            <a:extLst>
              <a:ext uri="{FF2B5EF4-FFF2-40B4-BE49-F238E27FC236}">
                <a16:creationId xmlns:a16="http://schemas.microsoft.com/office/drawing/2014/main" id="{197FD476-39CB-4E49-BB10-1EF0FB608951}"/>
              </a:ext>
            </a:extLst>
          </p:cNvPr>
          <p:cNvSpPr txBox="1">
            <a:spLocks/>
          </p:cNvSpPr>
          <p:nvPr/>
        </p:nvSpPr>
        <p:spPr>
          <a:xfrm>
            <a:off x="7241291" y="3428688"/>
            <a:ext cx="4377600" cy="1656000"/>
          </a:xfrm>
          <a:prstGeom prst="roundRect">
            <a:avLst>
              <a:gd name="adj" fmla="val 3315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08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Après avoir démarré Excel, choisissez votre modèle parmi la liste de modèles proposés</a:t>
            </a:r>
          </a:p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Si vous ne voyez pas le nom de votre modèle Excel dans cette liste, cliquez sur PERSONNEL en haut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à gauche de votre écran, et votre modèle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devrait être là</a:t>
            </a:r>
          </a:p>
        </p:txBody>
      </p:sp>
      <p:sp>
        <p:nvSpPr>
          <p:cNvPr id="45" name="Espace réservé du texte 1024">
            <a:extLst>
              <a:ext uri="{FF2B5EF4-FFF2-40B4-BE49-F238E27FC236}">
                <a16:creationId xmlns:a16="http://schemas.microsoft.com/office/drawing/2014/main" id="{1A27D806-ACCC-49EE-9E72-DA052A926B9A}"/>
              </a:ext>
            </a:extLst>
          </p:cNvPr>
          <p:cNvSpPr txBox="1">
            <a:spLocks/>
          </p:cNvSpPr>
          <p:nvPr/>
        </p:nvSpPr>
        <p:spPr>
          <a:xfrm>
            <a:off x="7241291" y="5228888"/>
            <a:ext cx="4377600" cy="1080000"/>
          </a:xfrm>
          <a:prstGeom prst="roundRect">
            <a:avLst>
              <a:gd name="adj" fmla="val 5949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44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600"/>
              </a:spcBef>
              <a:buFont typeface="Arial" pitchFamily="34" charset="0"/>
              <a:buNone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Après avoir démarré Word, choisissez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Document vierge </a:t>
            </a:r>
            <a:br>
              <a:rPr lang="fr-CA" sz="1400" b="1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en haut à gauche, et Word </a:t>
            </a:r>
            <a:r>
              <a:rPr lang="fr-CA" sz="1400" i="1" kern="0" noProof="0">
                <a:latin typeface="+mn-lt"/>
                <a:cs typeface="Arial" panose="020B0604020202020204" pitchFamily="34" charset="0"/>
              </a:rPr>
              <a:t>utilisera automatiquement</a:t>
            </a:r>
            <a:br>
              <a:rPr lang="fr-CA" sz="1400" i="1" kern="0" noProof="0">
                <a:latin typeface="+mn-lt"/>
                <a:cs typeface="Arial" panose="020B0604020202020204" pitchFamily="34" charset="0"/>
              </a:rPr>
            </a:br>
            <a:r>
              <a:rPr lang="fr-CA" sz="1400" i="1" kern="0" noProof="0">
                <a:latin typeface="+mn-lt"/>
                <a:cs typeface="Arial" panose="020B0604020202020204" pitchFamily="34" charset="0"/>
              </a:rPr>
              <a:t>le thème défini par défaut</a:t>
            </a:r>
          </a:p>
        </p:txBody>
      </p:sp>
      <p:pic>
        <p:nvPicPr>
          <p:cNvPr id="46" name="Picture 8" descr="Résultats de recherche d'images pour « logo powerpoint 2016 »">
            <a:extLst>
              <a:ext uri="{FF2B5EF4-FFF2-40B4-BE49-F238E27FC236}">
                <a16:creationId xmlns:a16="http://schemas.microsoft.com/office/drawing/2014/main" id="{570B97F9-80FB-4E99-86DB-3B4D803E96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2005" y="1959770"/>
            <a:ext cx="1994160" cy="1570187"/>
          </a:xfrm>
          <a:prstGeom prst="rect">
            <a:avLst/>
          </a:prstGeom>
        </p:spPr>
      </p:pic>
      <p:pic>
        <p:nvPicPr>
          <p:cNvPr id="47" name="Picture 4" descr="Résultats de recherche d'images pour « logo excel 2016 »">
            <a:extLst>
              <a:ext uri="{FF2B5EF4-FFF2-40B4-BE49-F238E27FC236}">
                <a16:creationId xmlns:a16="http://schemas.microsoft.com/office/drawing/2014/main" id="{7414A849-6063-4CAC-94FF-6694744A24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2005" y="3471595"/>
            <a:ext cx="1994160" cy="1570187"/>
          </a:xfrm>
          <a:prstGeom prst="rect">
            <a:avLst/>
          </a:prstGeom>
        </p:spPr>
      </p:pic>
      <p:pic>
        <p:nvPicPr>
          <p:cNvPr id="48" name="Picture 6" descr="Résultats de recherche d'images pour « logo word 2016 »">
            <a:extLst>
              <a:ext uri="{FF2B5EF4-FFF2-40B4-BE49-F238E27FC236}">
                <a16:creationId xmlns:a16="http://schemas.microsoft.com/office/drawing/2014/main" id="{5EC3A5FD-BDA7-4BFC-B44D-12D8D98F92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2005" y="4983794"/>
            <a:ext cx="1994160" cy="1570187"/>
          </a:xfrm>
          <a:prstGeom prst="rect">
            <a:avLst/>
          </a:prstGeom>
        </p:spPr>
      </p:pic>
      <p:sp>
        <p:nvSpPr>
          <p:cNvPr id="17" name="ZoneTexte 17">
            <a:extLst>
              <a:ext uri="{FF2B5EF4-FFF2-40B4-BE49-F238E27FC236}">
                <a16:creationId xmlns:a16="http://schemas.microsoft.com/office/drawing/2014/main" id="{CDCD7BA2-F27B-4C0C-B29D-591F0A0770AD}"/>
              </a:ext>
            </a:extLst>
          </p:cNvPr>
          <p:cNvSpPr txBox="1"/>
          <p:nvPr userDrawn="1"/>
        </p:nvSpPr>
        <p:spPr>
          <a:xfrm>
            <a:off x="550800" y="403200"/>
            <a:ext cx="11088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600" b="1"/>
              <a:t>Définissez votre thème comme </a:t>
            </a:r>
            <a:r>
              <a:rPr lang="fr-CA" sz="3600" b="1">
                <a:solidFill>
                  <a:schemeClr val="accent1"/>
                </a:solidFill>
              </a:rPr>
              <a:t>thème par défaut </a:t>
            </a:r>
            <a:br>
              <a:rPr lang="fr-CA" sz="3600" b="1"/>
            </a:br>
            <a:r>
              <a:rPr lang="fr-CA" sz="3600" b="1"/>
              <a:t>dans chaque logiciel pour accroître votre efficacité</a:t>
            </a:r>
          </a:p>
        </p:txBody>
      </p:sp>
      <p:sp>
        <p:nvSpPr>
          <p:cNvPr id="19" name="Rectangle : coins arrondis 37">
            <a:extLst>
              <a:ext uri="{FF2B5EF4-FFF2-40B4-BE49-F238E27FC236}">
                <a16:creationId xmlns:a16="http://schemas.microsoft.com/office/drawing/2014/main" id="{2F58BCC5-01D8-48D7-9510-BC836849F9CD}"/>
              </a:ext>
            </a:extLst>
          </p:cNvPr>
          <p:cNvSpPr/>
          <p:nvPr userDrawn="1"/>
        </p:nvSpPr>
        <p:spPr bwMode="auto">
          <a:xfrm>
            <a:off x="2524803" y="1484784"/>
            <a:ext cx="4379511" cy="576000"/>
          </a:xfrm>
          <a:prstGeom prst="roundRect">
            <a:avLst>
              <a:gd name="adj" fmla="val 5878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2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Sauvegardez par défaut</a:t>
            </a:r>
          </a:p>
        </p:txBody>
      </p:sp>
      <p:sp>
        <p:nvSpPr>
          <p:cNvPr id="20" name="Rectangle : coins arrondis 38">
            <a:extLst>
              <a:ext uri="{FF2B5EF4-FFF2-40B4-BE49-F238E27FC236}">
                <a16:creationId xmlns:a16="http://schemas.microsoft.com/office/drawing/2014/main" id="{E7CD33BB-313A-42AF-BD41-51E7E3ED0ACA}"/>
              </a:ext>
            </a:extLst>
          </p:cNvPr>
          <p:cNvSpPr/>
          <p:nvPr userDrawn="1"/>
        </p:nvSpPr>
        <p:spPr bwMode="auto">
          <a:xfrm>
            <a:off x="7241293" y="1484784"/>
            <a:ext cx="4379511" cy="576000"/>
          </a:xfrm>
          <a:prstGeom prst="roundRect">
            <a:avLst>
              <a:gd name="adj" fmla="val 5878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2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ＭＳ Ｐゴシック" charset="0"/>
                <a:cs typeface="Arial" panose="020B0604020202020204" pitchFamily="34" charset="0"/>
              </a:rPr>
              <a:t>Utilisez</a:t>
            </a:r>
          </a:p>
        </p:txBody>
      </p:sp>
      <p:sp>
        <p:nvSpPr>
          <p:cNvPr id="21" name="Espace réservé du texte 14">
            <a:extLst>
              <a:ext uri="{FF2B5EF4-FFF2-40B4-BE49-F238E27FC236}">
                <a16:creationId xmlns:a16="http://schemas.microsoft.com/office/drawing/2014/main" id="{0338B01C-02DD-4C43-A5DB-BF8F5C60448D}"/>
              </a:ext>
            </a:extLst>
          </p:cNvPr>
          <p:cNvSpPr txBox="1">
            <a:spLocks/>
          </p:cNvSpPr>
          <p:nvPr userDrawn="1"/>
        </p:nvSpPr>
        <p:spPr>
          <a:xfrm>
            <a:off x="2525056" y="2204864"/>
            <a:ext cx="4379509" cy="1080000"/>
          </a:xfrm>
          <a:prstGeom prst="roundRect">
            <a:avLst>
              <a:gd name="adj" fmla="val 556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08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Dans le menu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Création</a:t>
            </a:r>
            <a:r>
              <a:rPr lang="fr-CA" sz="1400" kern="0" noProof="0">
                <a:latin typeface="+mn-lt"/>
                <a:cs typeface="Arial" panose="020B0604020202020204" pitchFamily="34" charset="0"/>
              </a:rPr>
              <a:t>, cliquez avec le bouton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de droite sur votre thème</a:t>
            </a:r>
          </a:p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Choisissez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Définir comme thème par défaut</a:t>
            </a:r>
          </a:p>
        </p:txBody>
      </p:sp>
      <p:sp>
        <p:nvSpPr>
          <p:cNvPr id="22" name="Espace réservé du texte 62">
            <a:extLst>
              <a:ext uri="{FF2B5EF4-FFF2-40B4-BE49-F238E27FC236}">
                <a16:creationId xmlns:a16="http://schemas.microsoft.com/office/drawing/2014/main" id="{69D38A46-BB40-4C2B-AC46-5D8F106E470C}"/>
              </a:ext>
            </a:extLst>
          </p:cNvPr>
          <p:cNvSpPr txBox="1">
            <a:spLocks/>
          </p:cNvSpPr>
          <p:nvPr userDrawn="1"/>
        </p:nvSpPr>
        <p:spPr>
          <a:xfrm>
            <a:off x="2525053" y="3428688"/>
            <a:ext cx="4377600" cy="1656000"/>
          </a:xfrm>
          <a:prstGeom prst="roundRect">
            <a:avLst>
              <a:gd name="adj" fmla="val 3315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08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Dans un classeur Excel vide, sous le menu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Mise en page</a:t>
            </a:r>
            <a:r>
              <a:rPr lang="fr-CA" sz="1400" kern="0" noProof="0">
                <a:latin typeface="+mn-lt"/>
                <a:cs typeface="Arial" panose="020B0604020202020204" pitchFamily="34" charset="0"/>
              </a:rPr>
              <a:t>, choisissez votre thème </a:t>
            </a:r>
          </a:p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Dans le menu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Fichier</a:t>
            </a:r>
            <a:r>
              <a:rPr lang="fr-CA" sz="1400" kern="0" noProof="0">
                <a:latin typeface="+mn-lt"/>
                <a:cs typeface="Arial" panose="020B0604020202020204" pitchFamily="34" charset="0"/>
              </a:rPr>
              <a:t>, cliquez sur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Enregistrer sous</a:t>
            </a:r>
          </a:p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Enregistrez en tant que modèle XLTX en lui donnant un nom et fermez Excel</a:t>
            </a:r>
          </a:p>
        </p:txBody>
      </p:sp>
      <p:sp>
        <p:nvSpPr>
          <p:cNvPr id="23" name="Espace réservé du texte 1023">
            <a:extLst>
              <a:ext uri="{FF2B5EF4-FFF2-40B4-BE49-F238E27FC236}">
                <a16:creationId xmlns:a16="http://schemas.microsoft.com/office/drawing/2014/main" id="{67218340-A2E5-4D8D-AAE7-80C48F7AD049}"/>
              </a:ext>
            </a:extLst>
          </p:cNvPr>
          <p:cNvSpPr txBox="1">
            <a:spLocks/>
          </p:cNvSpPr>
          <p:nvPr userDrawn="1"/>
        </p:nvSpPr>
        <p:spPr>
          <a:xfrm>
            <a:off x="2525056" y="5228888"/>
            <a:ext cx="4379509" cy="1080000"/>
          </a:xfrm>
          <a:prstGeom prst="roundRect">
            <a:avLst>
              <a:gd name="adj" fmla="val 5949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08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Dans le menu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Création</a:t>
            </a:r>
            <a:r>
              <a:rPr lang="fr-CA" sz="1400" kern="0" noProof="0">
                <a:latin typeface="+mn-lt"/>
                <a:cs typeface="Arial" panose="020B0604020202020204" pitchFamily="34" charset="0"/>
              </a:rPr>
              <a:t>, choisissez votre thème</a:t>
            </a:r>
          </a:p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Toujours dans le menu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Création</a:t>
            </a:r>
            <a:r>
              <a:rPr lang="fr-CA" sz="1400" kern="0" noProof="0">
                <a:latin typeface="+mn-lt"/>
                <a:cs typeface="Arial" panose="020B0604020202020204" pitchFamily="34" charset="0"/>
              </a:rPr>
              <a:t>, cliquez sur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Définir par défaut</a:t>
            </a:r>
          </a:p>
        </p:txBody>
      </p:sp>
      <p:sp>
        <p:nvSpPr>
          <p:cNvPr id="24" name="Espace réservé du texte 1024">
            <a:extLst>
              <a:ext uri="{FF2B5EF4-FFF2-40B4-BE49-F238E27FC236}">
                <a16:creationId xmlns:a16="http://schemas.microsoft.com/office/drawing/2014/main" id="{B470F6F8-6E45-44D1-9506-D7225188219A}"/>
              </a:ext>
            </a:extLst>
          </p:cNvPr>
          <p:cNvSpPr txBox="1">
            <a:spLocks/>
          </p:cNvSpPr>
          <p:nvPr userDrawn="1"/>
        </p:nvSpPr>
        <p:spPr>
          <a:xfrm>
            <a:off x="7241291" y="2204864"/>
            <a:ext cx="4377600" cy="1080000"/>
          </a:xfrm>
          <a:prstGeom prst="roundRect">
            <a:avLst>
              <a:gd name="adj" fmla="val 5566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44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600"/>
              </a:spcBef>
              <a:buFont typeface="Arial" pitchFamily="34" charset="0"/>
              <a:buNone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Après avoir démarré PowerPoint, votre thème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par défaut sera toujours le premier proposé, en haut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à gauche, sous le nom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Default Theme </a:t>
            </a:r>
            <a:br>
              <a:rPr lang="fr-CA" sz="1400" b="1" kern="0" noProof="0">
                <a:latin typeface="+mn-lt"/>
                <a:cs typeface="Arial" panose="020B0604020202020204" pitchFamily="34" charset="0"/>
              </a:rPr>
            </a:br>
            <a:r>
              <a:rPr lang="fr-CA" sz="1400" i="1" kern="0" noProof="0">
                <a:latin typeface="+mn-lt"/>
                <a:cs typeface="Arial" panose="020B0604020202020204" pitchFamily="34" charset="0"/>
              </a:rPr>
              <a:t>(et non sous son nom original)</a:t>
            </a:r>
          </a:p>
        </p:txBody>
      </p:sp>
      <p:sp>
        <p:nvSpPr>
          <p:cNvPr id="25" name="Espace réservé du texte 1024">
            <a:extLst>
              <a:ext uri="{FF2B5EF4-FFF2-40B4-BE49-F238E27FC236}">
                <a16:creationId xmlns:a16="http://schemas.microsoft.com/office/drawing/2014/main" id="{1D2A43A7-EC74-4CA6-90A5-98BDA0E87F7B}"/>
              </a:ext>
            </a:extLst>
          </p:cNvPr>
          <p:cNvSpPr txBox="1">
            <a:spLocks/>
          </p:cNvSpPr>
          <p:nvPr userDrawn="1"/>
        </p:nvSpPr>
        <p:spPr>
          <a:xfrm>
            <a:off x="7241291" y="3428688"/>
            <a:ext cx="4377600" cy="1656000"/>
          </a:xfrm>
          <a:prstGeom prst="roundRect">
            <a:avLst>
              <a:gd name="adj" fmla="val 3315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08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Après avoir démarré Excel, choisissez votre modèle parmi la liste de modèles proposés</a:t>
            </a:r>
          </a:p>
          <a:p>
            <a:pPr marL="216000" indent="-180000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Si vous ne voyez pas le nom de votre modèle Excel dans cette liste, cliquez sur PERSONNEL en haut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à gauche de votre écran, et votre modèle </a:t>
            </a:r>
            <a:br>
              <a:rPr lang="fr-CA" sz="1400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devrait être là</a:t>
            </a:r>
          </a:p>
        </p:txBody>
      </p:sp>
      <p:sp>
        <p:nvSpPr>
          <p:cNvPr id="26" name="Espace réservé du texte 1024">
            <a:extLst>
              <a:ext uri="{FF2B5EF4-FFF2-40B4-BE49-F238E27FC236}">
                <a16:creationId xmlns:a16="http://schemas.microsoft.com/office/drawing/2014/main" id="{03FCA116-09D2-47BB-9FB0-6006A0DED485}"/>
              </a:ext>
            </a:extLst>
          </p:cNvPr>
          <p:cNvSpPr txBox="1">
            <a:spLocks/>
          </p:cNvSpPr>
          <p:nvPr userDrawn="1"/>
        </p:nvSpPr>
        <p:spPr>
          <a:xfrm>
            <a:off x="7241291" y="5228888"/>
            <a:ext cx="4377600" cy="1080000"/>
          </a:xfrm>
          <a:prstGeom prst="roundRect">
            <a:avLst>
              <a:gd name="adj" fmla="val 5949"/>
            </a:avLst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44000" tIns="108000" rIns="108000" bIns="108000" anchor="t" anchorCtr="0"/>
          <a:lstStyle>
            <a:lvl1pPr marL="225425" indent="-225425" algn="l" defTabSz="457200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457200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640080" indent="-137160" algn="l" defTabSz="457200" rtl="0" eaLnBrk="1" fontAlgn="base" hangingPunct="1"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3pPr>
            <a:lvl4pPr marL="1433513" indent="-355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4pPr>
            <a:lvl5pPr marL="1787525" indent="-354013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600"/>
              </a:spcBef>
              <a:buFont typeface="Arial" pitchFamily="34" charset="0"/>
              <a:buNone/>
            </a:pPr>
            <a:r>
              <a:rPr lang="fr-CA" sz="1400" kern="0" noProof="0">
                <a:latin typeface="+mn-lt"/>
                <a:cs typeface="Arial" panose="020B0604020202020204" pitchFamily="34" charset="0"/>
              </a:rPr>
              <a:t>Après avoir démarré Word, choisissez </a:t>
            </a:r>
            <a:r>
              <a:rPr lang="fr-CA" sz="1400" b="1" kern="0" noProof="0">
                <a:latin typeface="+mn-lt"/>
                <a:cs typeface="Arial" panose="020B0604020202020204" pitchFamily="34" charset="0"/>
              </a:rPr>
              <a:t>Document vierge </a:t>
            </a:r>
            <a:br>
              <a:rPr lang="fr-CA" sz="1400" b="1" kern="0" noProof="0"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latin typeface="+mn-lt"/>
                <a:cs typeface="Arial" panose="020B0604020202020204" pitchFamily="34" charset="0"/>
              </a:rPr>
              <a:t>en haut à gauche, et Word </a:t>
            </a:r>
            <a:r>
              <a:rPr lang="fr-CA" sz="1400" i="1" kern="0" noProof="0">
                <a:latin typeface="+mn-lt"/>
                <a:cs typeface="Arial" panose="020B0604020202020204" pitchFamily="34" charset="0"/>
              </a:rPr>
              <a:t>utilisera automatiquement</a:t>
            </a:r>
            <a:br>
              <a:rPr lang="fr-CA" sz="1400" i="1" kern="0" noProof="0">
                <a:latin typeface="+mn-lt"/>
                <a:cs typeface="Arial" panose="020B0604020202020204" pitchFamily="34" charset="0"/>
              </a:rPr>
            </a:br>
            <a:r>
              <a:rPr lang="fr-CA" sz="1400" i="1" kern="0" noProof="0">
                <a:latin typeface="+mn-lt"/>
                <a:cs typeface="Arial" panose="020B0604020202020204" pitchFamily="34" charset="0"/>
              </a:rPr>
              <a:t>le thème défini par défaut</a:t>
            </a:r>
          </a:p>
        </p:txBody>
      </p:sp>
      <p:pic>
        <p:nvPicPr>
          <p:cNvPr id="27" name="Picture 8" descr="Résultats de recherche d'images pour « logo powerpoint 2016 »">
            <a:extLst>
              <a:ext uri="{FF2B5EF4-FFF2-40B4-BE49-F238E27FC236}">
                <a16:creationId xmlns:a16="http://schemas.microsoft.com/office/drawing/2014/main" id="{D026C2BB-B995-475F-BF93-E08310838B0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2005" y="1959770"/>
            <a:ext cx="1994160" cy="1570187"/>
          </a:xfrm>
          <a:prstGeom prst="rect">
            <a:avLst/>
          </a:prstGeom>
        </p:spPr>
      </p:pic>
      <p:pic>
        <p:nvPicPr>
          <p:cNvPr id="28" name="Picture 4" descr="Résultats de recherche d'images pour « logo excel 2016 »">
            <a:extLst>
              <a:ext uri="{FF2B5EF4-FFF2-40B4-BE49-F238E27FC236}">
                <a16:creationId xmlns:a16="http://schemas.microsoft.com/office/drawing/2014/main" id="{97CAF4BF-49DE-4E0B-A312-A9E5E08FE7B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2005" y="3471595"/>
            <a:ext cx="1994160" cy="1570187"/>
          </a:xfrm>
          <a:prstGeom prst="rect">
            <a:avLst/>
          </a:prstGeom>
        </p:spPr>
      </p:pic>
      <p:pic>
        <p:nvPicPr>
          <p:cNvPr id="29" name="Picture 6" descr="Résultats de recherche d'images pour « logo word 2016 »">
            <a:extLst>
              <a:ext uri="{FF2B5EF4-FFF2-40B4-BE49-F238E27FC236}">
                <a16:creationId xmlns:a16="http://schemas.microsoft.com/office/drawing/2014/main" id="{029A908D-E03D-4B4B-8F9C-451DB767106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2005" y="4983794"/>
            <a:ext cx="1994160" cy="1570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46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ED496F1-5DAE-ED40-7639-123DED80F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4FF426E-7B4E-E6C4-AE25-F69B0A9B72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FD0B002-910D-1363-86AF-B313A5D976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663284B-6C5F-0555-2854-9FC1F347E8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643B3E2-1236-C1E8-7138-23BDFE413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8156170-AD7C-6C8A-DE5F-2797327AC2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9650624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nchette et boîte d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93FCA1B-6429-49EE-BAC5-FC3C2B33F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0C0B1C1-7F35-40EB-992A-1607F263A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DF78B49-AF56-4051-8181-8E55E7711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2C4E7F3-1A27-4B52-8C68-AB0E9FA3E98C}"/>
              </a:ext>
            </a:extLst>
          </p:cNvPr>
          <p:cNvSpPr txBox="1"/>
          <p:nvPr/>
        </p:nvSpPr>
        <p:spPr>
          <a:xfrm>
            <a:off x="550800" y="403200"/>
            <a:ext cx="11088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600" b="1"/>
              <a:t>Utilisez efficacement les </a:t>
            </a:r>
            <a:r>
              <a:rPr lang="fr-CA" sz="3600" b="1">
                <a:solidFill>
                  <a:schemeClr val="accent1"/>
                </a:solidFill>
              </a:rPr>
              <a:t>manchettes</a:t>
            </a:r>
            <a:r>
              <a:rPr lang="fr-CA" sz="3600" b="1"/>
              <a:t> et </a:t>
            </a:r>
            <a:br>
              <a:rPr lang="fr-CA" sz="3600" b="1"/>
            </a:br>
            <a:r>
              <a:rPr lang="fr-CA" sz="3600" b="1"/>
              <a:t>les </a:t>
            </a:r>
            <a:r>
              <a:rPr lang="fr-CA" sz="3600" b="1">
                <a:solidFill>
                  <a:schemeClr val="accent1"/>
                </a:solidFill>
              </a:rPr>
              <a:t>boîtes de message</a:t>
            </a:r>
            <a:endParaRPr lang="fr-CA" sz="3600" b="1"/>
          </a:p>
        </p:txBody>
      </p:sp>
      <p:sp>
        <p:nvSpPr>
          <p:cNvPr id="42" name="Espace réservé du texte 1">
            <a:extLst>
              <a:ext uri="{FF2B5EF4-FFF2-40B4-BE49-F238E27FC236}">
                <a16:creationId xmlns:a16="http://schemas.microsoft.com/office/drawing/2014/main" id="{DB05F4D8-0ABD-4205-A88B-63280A4F86C3}"/>
              </a:ext>
            </a:extLst>
          </p:cNvPr>
          <p:cNvSpPr txBox="1">
            <a:spLocks/>
          </p:cNvSpPr>
          <p:nvPr/>
        </p:nvSpPr>
        <p:spPr>
          <a:xfrm>
            <a:off x="551384" y="1484784"/>
            <a:ext cx="2736304" cy="2448272"/>
          </a:xfrm>
          <a:prstGeom prst="roundRect">
            <a:avLst>
              <a:gd name="adj" fmla="val 1391"/>
            </a:avLst>
          </a:prstGeom>
          <a:solidFill>
            <a:schemeClr val="accent1"/>
          </a:solidFill>
        </p:spPr>
        <p:txBody>
          <a:bodyPr lIns="144000" tIns="144000" rIns="144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200" b="1">
                <a:solidFill>
                  <a:schemeClr val="bg1"/>
                </a:solidFill>
              </a:rPr>
              <a:t>Les 5 attributs </a:t>
            </a:r>
            <a:br>
              <a:rPr lang="fr-CA" sz="2200" b="1">
                <a:solidFill>
                  <a:schemeClr val="bg1"/>
                </a:solidFill>
              </a:rPr>
            </a:br>
            <a:r>
              <a:rPr lang="fr-CA" sz="2200" b="1">
                <a:solidFill>
                  <a:schemeClr val="bg1"/>
                </a:solidFill>
              </a:rPr>
              <a:t>d’une MANCHETTE efficace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B463A231-5477-403F-8809-BDCB5ECAB6AE}"/>
              </a:ext>
            </a:extLst>
          </p:cNvPr>
          <p:cNvSpPr txBox="1">
            <a:spLocks/>
          </p:cNvSpPr>
          <p:nvPr/>
        </p:nvSpPr>
        <p:spPr>
          <a:xfrm>
            <a:off x="551384" y="4149553"/>
            <a:ext cx="2736304" cy="2015751"/>
          </a:xfrm>
          <a:prstGeom prst="roundRect">
            <a:avLst>
              <a:gd name="adj" fmla="val 1391"/>
            </a:avLst>
          </a:prstGeom>
          <a:solidFill>
            <a:schemeClr val="accent1"/>
          </a:solidFill>
        </p:spPr>
        <p:txBody>
          <a:bodyPr lIns="144000" tIns="144000" rIns="144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200" b="1">
                <a:solidFill>
                  <a:schemeClr val="bg1"/>
                </a:solidFill>
              </a:rPr>
              <a:t>4 façons différentes d’utiliser une </a:t>
            </a:r>
            <a:br>
              <a:rPr lang="fr-CA" sz="2200" b="1">
                <a:solidFill>
                  <a:schemeClr val="bg1"/>
                </a:solidFill>
              </a:rPr>
            </a:br>
            <a:r>
              <a:rPr lang="fr-CA" sz="2200" b="1">
                <a:solidFill>
                  <a:schemeClr val="bg1"/>
                </a:solidFill>
              </a:rPr>
              <a:t>BOÎTE DE MESSAGE</a:t>
            </a:r>
          </a:p>
        </p:txBody>
      </p:sp>
      <p:sp>
        <p:nvSpPr>
          <p:cNvPr id="44" name="Espace réservé du contenu 6">
            <a:extLst>
              <a:ext uri="{FF2B5EF4-FFF2-40B4-BE49-F238E27FC236}">
                <a16:creationId xmlns:a16="http://schemas.microsoft.com/office/drawing/2014/main" id="{CD69A876-7F6F-4DAC-B0FD-A3DE581EAF97}"/>
              </a:ext>
            </a:extLst>
          </p:cNvPr>
          <p:cNvSpPr txBox="1">
            <a:spLocks/>
          </p:cNvSpPr>
          <p:nvPr/>
        </p:nvSpPr>
        <p:spPr>
          <a:xfrm>
            <a:off x="3431704" y="1484784"/>
            <a:ext cx="8208912" cy="2448272"/>
          </a:xfrm>
          <a:prstGeom prst="roundRect">
            <a:avLst>
              <a:gd name="adj" fmla="val 1067"/>
            </a:avLst>
          </a:prstGeom>
          <a:solidFill>
            <a:schemeClr val="bg2"/>
          </a:solidFill>
        </p:spPr>
        <p:txBody>
          <a:bodyPr lIns="216000" tIns="144000" rIns="216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>
              <a:spcBef>
                <a:spcPts val="1200"/>
              </a:spcBef>
            </a:pPr>
            <a:r>
              <a:rPr lang="fr-CA" sz="2000"/>
              <a:t>Informative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Unique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Directement liée au contenu de la page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Claire et spécifique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Simple et directe</a:t>
            </a:r>
          </a:p>
        </p:txBody>
      </p:sp>
      <p:sp>
        <p:nvSpPr>
          <p:cNvPr id="45" name="Espace réservé du contenu 7">
            <a:extLst>
              <a:ext uri="{FF2B5EF4-FFF2-40B4-BE49-F238E27FC236}">
                <a16:creationId xmlns:a16="http://schemas.microsoft.com/office/drawing/2014/main" id="{908F94BB-9DD2-47E3-AC8E-D144FF6AE360}"/>
              </a:ext>
            </a:extLst>
          </p:cNvPr>
          <p:cNvSpPr txBox="1">
            <a:spLocks/>
          </p:cNvSpPr>
          <p:nvPr/>
        </p:nvSpPr>
        <p:spPr>
          <a:xfrm>
            <a:off x="3431704" y="4149080"/>
            <a:ext cx="8208912" cy="2015975"/>
          </a:xfrm>
          <a:prstGeom prst="roundRect">
            <a:avLst>
              <a:gd name="adj" fmla="val 1067"/>
            </a:avLst>
          </a:prstGeom>
          <a:solidFill>
            <a:schemeClr val="bg2"/>
          </a:solidFill>
        </p:spPr>
        <p:txBody>
          <a:bodyPr lIns="216000" tIns="144000" rIns="216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>
              <a:spcBef>
                <a:spcPts val="1200"/>
              </a:spcBef>
            </a:pPr>
            <a:r>
              <a:rPr lang="fr-CA" sz="2000"/>
              <a:t>Implication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Second message clé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Question et réponse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Lien avec la page suivante</a:t>
            </a:r>
          </a:p>
        </p:txBody>
      </p:sp>
      <p:sp>
        <p:nvSpPr>
          <p:cNvPr id="10" name="ZoneTexte 17">
            <a:extLst>
              <a:ext uri="{FF2B5EF4-FFF2-40B4-BE49-F238E27FC236}">
                <a16:creationId xmlns:a16="http://schemas.microsoft.com/office/drawing/2014/main" id="{23A7E0EE-0227-4BC6-BE1C-2816F9115151}"/>
              </a:ext>
            </a:extLst>
          </p:cNvPr>
          <p:cNvSpPr txBox="1"/>
          <p:nvPr userDrawn="1"/>
        </p:nvSpPr>
        <p:spPr>
          <a:xfrm>
            <a:off x="550800" y="403200"/>
            <a:ext cx="11088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600" b="1"/>
              <a:t>Utilisez efficacement les </a:t>
            </a:r>
            <a:r>
              <a:rPr lang="fr-CA" sz="3600" b="1">
                <a:solidFill>
                  <a:schemeClr val="accent1"/>
                </a:solidFill>
              </a:rPr>
              <a:t>manchettes</a:t>
            </a:r>
            <a:r>
              <a:rPr lang="fr-CA" sz="3600" b="1"/>
              <a:t> et </a:t>
            </a:r>
            <a:br>
              <a:rPr lang="fr-CA" sz="3600" b="1"/>
            </a:br>
            <a:r>
              <a:rPr lang="fr-CA" sz="3600" b="1"/>
              <a:t>les </a:t>
            </a:r>
            <a:r>
              <a:rPr lang="fr-CA" sz="3600" b="1">
                <a:solidFill>
                  <a:schemeClr val="accent1"/>
                </a:solidFill>
              </a:rPr>
              <a:t>boîtes de message</a:t>
            </a:r>
            <a:endParaRPr lang="fr-CA" sz="3600" b="1"/>
          </a:p>
        </p:txBody>
      </p:sp>
      <p:sp>
        <p:nvSpPr>
          <p:cNvPr id="11" name="Espace réservé du texte 1">
            <a:extLst>
              <a:ext uri="{FF2B5EF4-FFF2-40B4-BE49-F238E27FC236}">
                <a16:creationId xmlns:a16="http://schemas.microsoft.com/office/drawing/2014/main" id="{80619C4E-B3D8-433E-9EBE-6C871B68D812}"/>
              </a:ext>
            </a:extLst>
          </p:cNvPr>
          <p:cNvSpPr txBox="1">
            <a:spLocks/>
          </p:cNvSpPr>
          <p:nvPr userDrawn="1"/>
        </p:nvSpPr>
        <p:spPr>
          <a:xfrm>
            <a:off x="551384" y="1484784"/>
            <a:ext cx="2736304" cy="2448272"/>
          </a:xfrm>
          <a:prstGeom prst="roundRect">
            <a:avLst>
              <a:gd name="adj" fmla="val 1391"/>
            </a:avLst>
          </a:prstGeom>
          <a:solidFill>
            <a:schemeClr val="accent1"/>
          </a:solidFill>
        </p:spPr>
        <p:txBody>
          <a:bodyPr lIns="144000" tIns="144000" rIns="144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200" b="1">
                <a:solidFill>
                  <a:schemeClr val="bg1"/>
                </a:solidFill>
              </a:rPr>
              <a:t>Les 5 attributs </a:t>
            </a:r>
            <a:br>
              <a:rPr lang="fr-CA" sz="2200" b="1">
                <a:solidFill>
                  <a:schemeClr val="bg1"/>
                </a:solidFill>
              </a:rPr>
            </a:br>
            <a:r>
              <a:rPr lang="fr-CA" sz="2200" b="1">
                <a:solidFill>
                  <a:schemeClr val="bg1"/>
                </a:solidFill>
              </a:rPr>
              <a:t>d’une MANCHETTE efficace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CFED965A-DEF5-4737-8A8C-6DC7D52D67DE}"/>
              </a:ext>
            </a:extLst>
          </p:cNvPr>
          <p:cNvSpPr txBox="1">
            <a:spLocks/>
          </p:cNvSpPr>
          <p:nvPr userDrawn="1"/>
        </p:nvSpPr>
        <p:spPr>
          <a:xfrm>
            <a:off x="551384" y="4149553"/>
            <a:ext cx="2736304" cy="2015751"/>
          </a:xfrm>
          <a:prstGeom prst="roundRect">
            <a:avLst>
              <a:gd name="adj" fmla="val 1391"/>
            </a:avLst>
          </a:prstGeom>
          <a:solidFill>
            <a:schemeClr val="accent1"/>
          </a:solidFill>
        </p:spPr>
        <p:txBody>
          <a:bodyPr lIns="144000" tIns="144000" rIns="144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2200" b="1">
                <a:solidFill>
                  <a:schemeClr val="bg1"/>
                </a:solidFill>
              </a:rPr>
              <a:t>4 façons différentes d’utiliser une </a:t>
            </a:r>
            <a:br>
              <a:rPr lang="fr-CA" sz="2200" b="1">
                <a:solidFill>
                  <a:schemeClr val="bg1"/>
                </a:solidFill>
              </a:rPr>
            </a:br>
            <a:r>
              <a:rPr lang="fr-CA" sz="2200" b="1">
                <a:solidFill>
                  <a:schemeClr val="bg1"/>
                </a:solidFill>
              </a:rPr>
              <a:t>BOÎTE DE MESSAGE</a:t>
            </a:r>
          </a:p>
        </p:txBody>
      </p:sp>
      <p:sp>
        <p:nvSpPr>
          <p:cNvPr id="13" name="Espace réservé du contenu 6">
            <a:extLst>
              <a:ext uri="{FF2B5EF4-FFF2-40B4-BE49-F238E27FC236}">
                <a16:creationId xmlns:a16="http://schemas.microsoft.com/office/drawing/2014/main" id="{5B6EB618-1CB6-4C3B-B4C9-51F823A22E6A}"/>
              </a:ext>
            </a:extLst>
          </p:cNvPr>
          <p:cNvSpPr txBox="1">
            <a:spLocks/>
          </p:cNvSpPr>
          <p:nvPr userDrawn="1"/>
        </p:nvSpPr>
        <p:spPr>
          <a:xfrm>
            <a:off x="3431704" y="1484784"/>
            <a:ext cx="8208912" cy="2448272"/>
          </a:xfrm>
          <a:prstGeom prst="roundRect">
            <a:avLst>
              <a:gd name="adj" fmla="val 1067"/>
            </a:avLst>
          </a:prstGeom>
          <a:solidFill>
            <a:schemeClr val="bg2"/>
          </a:solidFill>
        </p:spPr>
        <p:txBody>
          <a:bodyPr lIns="216000" tIns="144000" rIns="216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>
              <a:spcBef>
                <a:spcPts val="1200"/>
              </a:spcBef>
            </a:pPr>
            <a:r>
              <a:rPr lang="fr-CA" sz="2000"/>
              <a:t>Informative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Unique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Directement liée au contenu de la page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Claire et spécifique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Simple et directe</a:t>
            </a:r>
          </a:p>
        </p:txBody>
      </p:sp>
      <p:sp>
        <p:nvSpPr>
          <p:cNvPr id="14" name="Espace réservé du contenu 7">
            <a:extLst>
              <a:ext uri="{FF2B5EF4-FFF2-40B4-BE49-F238E27FC236}">
                <a16:creationId xmlns:a16="http://schemas.microsoft.com/office/drawing/2014/main" id="{349D2301-1C3E-4738-AEF5-AE4A92B63EFA}"/>
              </a:ext>
            </a:extLst>
          </p:cNvPr>
          <p:cNvSpPr txBox="1">
            <a:spLocks/>
          </p:cNvSpPr>
          <p:nvPr userDrawn="1"/>
        </p:nvSpPr>
        <p:spPr>
          <a:xfrm>
            <a:off x="3431704" y="4149080"/>
            <a:ext cx="8208912" cy="2015975"/>
          </a:xfrm>
          <a:prstGeom prst="roundRect">
            <a:avLst>
              <a:gd name="adj" fmla="val 1067"/>
            </a:avLst>
          </a:prstGeom>
          <a:solidFill>
            <a:schemeClr val="bg2"/>
          </a:solidFill>
        </p:spPr>
        <p:txBody>
          <a:bodyPr lIns="216000" tIns="144000" rIns="216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4">
              <a:spcBef>
                <a:spcPts val="1200"/>
              </a:spcBef>
            </a:pPr>
            <a:r>
              <a:rPr lang="fr-CA" sz="2000"/>
              <a:t>Implication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Second message clé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Question et réponse</a:t>
            </a:r>
          </a:p>
          <a:p>
            <a:pPr lvl="4">
              <a:spcBef>
                <a:spcPts val="1200"/>
              </a:spcBef>
            </a:pPr>
            <a:r>
              <a:rPr lang="fr-CA" sz="2000"/>
              <a:t>Lien avec la page suivante</a:t>
            </a:r>
          </a:p>
        </p:txBody>
      </p:sp>
    </p:spTree>
    <p:extLst>
      <p:ext uri="{BB962C8B-B14F-4D97-AF65-F5344CB8AC3E}">
        <p14:creationId xmlns:p14="http://schemas.microsoft.com/office/powerpoint/2010/main" val="1086449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ymbole déci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93FCA1B-6429-49EE-BAC5-FC3C2B33F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0C0B1C1-7F35-40EB-992A-1607F263A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 sz="120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DF78B49-AF56-4051-8181-8E55E7711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2C4E7F3-1A27-4B52-8C68-AB0E9FA3E98C}"/>
              </a:ext>
            </a:extLst>
          </p:cNvPr>
          <p:cNvSpPr txBox="1"/>
          <p:nvPr/>
        </p:nvSpPr>
        <p:spPr>
          <a:xfrm>
            <a:off x="550800" y="403200"/>
            <a:ext cx="11070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500" b="1"/>
              <a:t>Changez le </a:t>
            </a:r>
            <a:r>
              <a:rPr lang="fr-CA" sz="3500" b="1">
                <a:solidFill>
                  <a:schemeClr val="accent1"/>
                </a:solidFill>
              </a:rPr>
              <a:t>symbole décimal </a:t>
            </a:r>
            <a:r>
              <a:rPr lang="fr-CA" sz="3500" b="1"/>
              <a:t>dans les graphiques en modifiant les paramètres dans le panneau de configuration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BDD2B78-BDB9-4881-80A9-FD4084A1D42B}"/>
              </a:ext>
            </a:extLst>
          </p:cNvPr>
          <p:cNvSpPr/>
          <p:nvPr/>
        </p:nvSpPr>
        <p:spPr>
          <a:xfrm>
            <a:off x="571200" y="1484784"/>
            <a:ext cx="5229896" cy="46132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/>
              <a:t>Allez dans les paramètres de Windows </a:t>
            </a:r>
            <a:br>
              <a:rPr lang="fr-CA" sz="1200" b="1" noProof="0"/>
            </a:br>
            <a:r>
              <a:rPr lang="fr-CA" sz="1200" b="1" noProof="0"/>
              <a:t>et cliquez sur « Heure et langue »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9657A4B-661D-4CE4-8C31-1EE6CAF0BB68}"/>
              </a:ext>
            </a:extLst>
          </p:cNvPr>
          <p:cNvSpPr/>
          <p:nvPr/>
        </p:nvSpPr>
        <p:spPr>
          <a:xfrm>
            <a:off x="571201" y="1504145"/>
            <a:ext cx="5229896" cy="260009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68291C3-F54C-42F5-8934-D41BF27F7BE3}"/>
              </a:ext>
            </a:extLst>
          </p:cNvPr>
          <p:cNvSpPr/>
          <p:nvPr/>
        </p:nvSpPr>
        <p:spPr>
          <a:xfrm>
            <a:off x="5900058" y="1484784"/>
            <a:ext cx="5720742" cy="46132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/>
              <a:t>Cliquez sur « Région », puis sur « Paramètres de date, d’heure et de région supplémentaires » sous « Paramètres connexes »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548F07B-D907-405F-BA93-5EB76F7E57A4}"/>
              </a:ext>
            </a:extLst>
          </p:cNvPr>
          <p:cNvSpPr/>
          <p:nvPr/>
        </p:nvSpPr>
        <p:spPr>
          <a:xfrm>
            <a:off x="5900059" y="1504145"/>
            <a:ext cx="5720742" cy="260009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DB9AD77-691C-4587-A714-E8C980E2B2F3}"/>
              </a:ext>
            </a:extLst>
          </p:cNvPr>
          <p:cNvSpPr/>
          <p:nvPr/>
        </p:nvSpPr>
        <p:spPr>
          <a:xfrm>
            <a:off x="8832364" y="4228408"/>
            <a:ext cx="1080060" cy="213050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32400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/>
              <a:t>Choisissez </a:t>
            </a:r>
            <a:br>
              <a:rPr lang="fr-CA" sz="1200" b="1" noProof="0"/>
            </a:br>
            <a:r>
              <a:rPr lang="fr-CA" sz="1200" b="1" noProof="0"/>
              <a:t>le symbole décimal et cliquez sur « Appliquer »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BE07A5B-447A-449E-896E-DFEB7B722EDC}"/>
              </a:ext>
            </a:extLst>
          </p:cNvPr>
          <p:cNvSpPr/>
          <p:nvPr/>
        </p:nvSpPr>
        <p:spPr>
          <a:xfrm>
            <a:off x="8832364" y="4223520"/>
            <a:ext cx="2788437" cy="213539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C95B57D-8D22-4F7B-B8A6-D35C6D000654}"/>
              </a:ext>
            </a:extLst>
          </p:cNvPr>
          <p:cNvSpPr/>
          <p:nvPr/>
        </p:nvSpPr>
        <p:spPr>
          <a:xfrm>
            <a:off x="5617654" y="4221088"/>
            <a:ext cx="1414450" cy="213050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32400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/>
              <a:t>Cliquez sur « Paramètres supplémentaires »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01285AB3-F0D9-4929-B733-4EDC45008848}"/>
              </a:ext>
            </a:extLst>
          </p:cNvPr>
          <p:cNvSpPr/>
          <p:nvPr/>
        </p:nvSpPr>
        <p:spPr>
          <a:xfrm>
            <a:off x="5617653" y="4223630"/>
            <a:ext cx="3157671" cy="213539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8B8B96B-8446-44D4-967C-7DA37CE80B21}"/>
              </a:ext>
            </a:extLst>
          </p:cNvPr>
          <p:cNvSpPr/>
          <p:nvPr/>
        </p:nvSpPr>
        <p:spPr>
          <a:xfrm>
            <a:off x="571197" y="4238526"/>
            <a:ext cx="1102501" cy="2120392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32400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/>
              <a:t>Cliquez sur « Modifier </a:t>
            </a:r>
            <a:br>
              <a:rPr lang="fr-CA" sz="1200" b="1" noProof="0"/>
            </a:br>
            <a:r>
              <a:rPr lang="fr-CA" sz="1200" b="1" noProof="0"/>
              <a:t>les formats de date, d’heure ou </a:t>
            </a:r>
            <a:br>
              <a:rPr lang="fr-CA" sz="1200" b="1" noProof="0"/>
            </a:br>
            <a:r>
              <a:rPr lang="fr-CA" sz="1200" b="1" noProof="0"/>
              <a:t>de nombre »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E4D18B26-1C7C-4925-9DAA-03697C3DBBD5}"/>
              </a:ext>
            </a:extLst>
          </p:cNvPr>
          <p:cNvSpPr/>
          <p:nvPr/>
        </p:nvSpPr>
        <p:spPr>
          <a:xfrm>
            <a:off x="571199" y="4226084"/>
            <a:ext cx="4946176" cy="213539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9AAEC68-0709-4874-8723-A5814C6787BB}"/>
              </a:ext>
            </a:extLst>
          </p:cNvPr>
          <p:cNvSpPr/>
          <p:nvPr/>
        </p:nvSpPr>
        <p:spPr>
          <a:xfrm>
            <a:off x="494146" y="1484784"/>
            <a:ext cx="400813" cy="278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CA" sz="1400" b="1" noProof="0"/>
              <a:t>1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AD63806-4854-4FE0-9C73-7699721D7B00}"/>
              </a:ext>
            </a:extLst>
          </p:cNvPr>
          <p:cNvSpPr/>
          <p:nvPr/>
        </p:nvSpPr>
        <p:spPr>
          <a:xfrm>
            <a:off x="5844210" y="1484784"/>
            <a:ext cx="400813" cy="278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CA" sz="1400" b="1" noProof="0"/>
              <a:t>2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9F89E48-1005-4730-892E-996EAEBCDEB0}"/>
              </a:ext>
            </a:extLst>
          </p:cNvPr>
          <p:cNvSpPr/>
          <p:nvPr/>
        </p:nvSpPr>
        <p:spPr>
          <a:xfrm>
            <a:off x="500702" y="4228409"/>
            <a:ext cx="400813" cy="278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CA" sz="1400" b="1" noProof="0"/>
              <a:t>3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EDBB58A-C57D-4A16-A422-D61AFF2203D8}"/>
              </a:ext>
            </a:extLst>
          </p:cNvPr>
          <p:cNvSpPr/>
          <p:nvPr/>
        </p:nvSpPr>
        <p:spPr>
          <a:xfrm>
            <a:off x="5568024" y="4228409"/>
            <a:ext cx="400813" cy="278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CA" sz="1400" b="1" noProof="0"/>
              <a:t>4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90EC454-52DA-423F-A1F8-1B4D73568A4E}"/>
              </a:ext>
            </a:extLst>
          </p:cNvPr>
          <p:cNvSpPr/>
          <p:nvPr/>
        </p:nvSpPr>
        <p:spPr>
          <a:xfrm>
            <a:off x="8760296" y="4228409"/>
            <a:ext cx="400813" cy="278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CA" sz="1400" b="1" noProof="0"/>
              <a:t>5</a:t>
            </a:r>
          </a:p>
        </p:txBody>
      </p:sp>
      <p:grpSp>
        <p:nvGrpSpPr>
          <p:cNvPr id="58" name="Groupe 57">
            <a:extLst>
              <a:ext uri="{FF2B5EF4-FFF2-40B4-BE49-F238E27FC236}">
                <a16:creationId xmlns:a16="http://schemas.microsoft.com/office/drawing/2014/main" id="{DE46F433-80B8-4931-9F08-DB0B495EF475}"/>
              </a:ext>
            </a:extLst>
          </p:cNvPr>
          <p:cNvGrpSpPr/>
          <p:nvPr/>
        </p:nvGrpSpPr>
        <p:grpSpPr>
          <a:xfrm>
            <a:off x="2135560" y="2019688"/>
            <a:ext cx="3424442" cy="2009057"/>
            <a:chOff x="1591438" y="2019688"/>
            <a:chExt cx="3424442" cy="2009057"/>
          </a:xfrm>
        </p:grpSpPr>
        <p:pic>
          <p:nvPicPr>
            <p:cNvPr id="59" name="Image 58">
              <a:extLst>
                <a:ext uri="{FF2B5EF4-FFF2-40B4-BE49-F238E27FC236}">
                  <a16:creationId xmlns:a16="http://schemas.microsoft.com/office/drawing/2014/main" id="{7ADB7206-82F6-4E46-8D17-54ABD14571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1" t="2415" r="1881" b="2806"/>
            <a:stretch/>
          </p:blipFill>
          <p:spPr>
            <a:xfrm>
              <a:off x="1591438" y="2019688"/>
              <a:ext cx="3424442" cy="2009057"/>
            </a:xfrm>
            <a:prstGeom prst="rect">
              <a:avLst/>
            </a:prstGeom>
          </p:spPr>
        </p:pic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5328477E-C6BC-4A38-A2DF-DD96625E035D}"/>
                </a:ext>
              </a:extLst>
            </p:cNvPr>
            <p:cNvSpPr/>
            <p:nvPr/>
          </p:nvSpPr>
          <p:spPr>
            <a:xfrm>
              <a:off x="4346570" y="2953943"/>
              <a:ext cx="641355" cy="213216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  <p:grpSp>
        <p:nvGrpSpPr>
          <p:cNvPr id="61" name="Groupe 60">
            <a:extLst>
              <a:ext uri="{FF2B5EF4-FFF2-40B4-BE49-F238E27FC236}">
                <a16:creationId xmlns:a16="http://schemas.microsoft.com/office/drawing/2014/main" id="{F785C0D4-8AB4-400E-8A00-97082BDCBB55}"/>
              </a:ext>
            </a:extLst>
          </p:cNvPr>
          <p:cNvGrpSpPr/>
          <p:nvPr/>
        </p:nvGrpSpPr>
        <p:grpSpPr>
          <a:xfrm>
            <a:off x="632916" y="2019687"/>
            <a:ext cx="1261548" cy="2023845"/>
            <a:chOff x="632916" y="2019687"/>
            <a:chExt cx="1261548" cy="2023845"/>
          </a:xfrm>
        </p:grpSpPr>
        <p:pic>
          <p:nvPicPr>
            <p:cNvPr id="62" name="Image 61">
              <a:extLst>
                <a:ext uri="{FF2B5EF4-FFF2-40B4-BE49-F238E27FC236}">
                  <a16:creationId xmlns:a16="http://schemas.microsoft.com/office/drawing/2014/main" id="{FE8C144F-DB6F-4E72-990B-17499134DA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8457" y="2019687"/>
              <a:ext cx="1246007" cy="2014378"/>
            </a:xfrm>
            <a:prstGeom prst="rect">
              <a:avLst/>
            </a:prstGeom>
          </p:spPr>
        </p:pic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130ABD3-2E08-4685-BE65-8E3D03AD13D3}"/>
                </a:ext>
              </a:extLst>
            </p:cNvPr>
            <p:cNvSpPr/>
            <p:nvPr/>
          </p:nvSpPr>
          <p:spPr>
            <a:xfrm>
              <a:off x="632916" y="3910886"/>
              <a:ext cx="134492" cy="132646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29E9CF7-FAE1-4BAD-9FDE-5FBCD1444E88}"/>
                </a:ext>
              </a:extLst>
            </p:cNvPr>
            <p:cNvSpPr/>
            <p:nvPr/>
          </p:nvSpPr>
          <p:spPr>
            <a:xfrm>
              <a:off x="634243" y="3618928"/>
              <a:ext cx="754025" cy="170112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  <p:grpSp>
        <p:nvGrpSpPr>
          <p:cNvPr id="65" name="Groupe 64">
            <a:extLst>
              <a:ext uri="{FF2B5EF4-FFF2-40B4-BE49-F238E27FC236}">
                <a16:creationId xmlns:a16="http://schemas.microsoft.com/office/drawing/2014/main" id="{CD9E2724-E88C-469B-8D85-C2A829793C87}"/>
              </a:ext>
            </a:extLst>
          </p:cNvPr>
          <p:cNvGrpSpPr/>
          <p:nvPr/>
        </p:nvGrpSpPr>
        <p:grpSpPr>
          <a:xfrm>
            <a:off x="1773976" y="4365104"/>
            <a:ext cx="3621760" cy="1800200"/>
            <a:chOff x="1773976" y="4365104"/>
            <a:chExt cx="3621760" cy="1800200"/>
          </a:xfrm>
        </p:grpSpPr>
        <p:pic>
          <p:nvPicPr>
            <p:cNvPr id="66" name="Image 65">
              <a:extLst>
                <a:ext uri="{FF2B5EF4-FFF2-40B4-BE49-F238E27FC236}">
                  <a16:creationId xmlns:a16="http://schemas.microsoft.com/office/drawing/2014/main" id="{75E79ABD-8592-4B9D-9CD8-215B75511C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773976" y="4365104"/>
              <a:ext cx="3621760" cy="1800200"/>
            </a:xfrm>
            <a:prstGeom prst="rect">
              <a:avLst/>
            </a:prstGeom>
            <a:ln w="3175">
              <a:noFill/>
            </a:ln>
          </p:spPr>
        </p:pic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53F5CB4-6B28-41AE-92A7-71813C1D9C85}"/>
                </a:ext>
              </a:extLst>
            </p:cNvPr>
            <p:cNvSpPr/>
            <p:nvPr/>
          </p:nvSpPr>
          <p:spPr>
            <a:xfrm>
              <a:off x="2999656" y="5210175"/>
              <a:ext cx="2396079" cy="307032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  <p:grpSp>
        <p:nvGrpSpPr>
          <p:cNvPr id="68" name="Groupe 67">
            <a:extLst>
              <a:ext uri="{FF2B5EF4-FFF2-40B4-BE49-F238E27FC236}">
                <a16:creationId xmlns:a16="http://schemas.microsoft.com/office/drawing/2014/main" id="{9212C3B9-B7B6-477A-A244-FF23E91AE9F3}"/>
              </a:ext>
            </a:extLst>
          </p:cNvPr>
          <p:cNvGrpSpPr>
            <a:grpSpLocks noChangeAspect="1"/>
          </p:cNvGrpSpPr>
          <p:nvPr/>
        </p:nvGrpSpPr>
        <p:grpSpPr>
          <a:xfrm>
            <a:off x="7074971" y="4365103"/>
            <a:ext cx="1652700" cy="1874520"/>
            <a:chOff x="7051829" y="4365104"/>
            <a:chExt cx="1612390" cy="1812273"/>
          </a:xfrm>
        </p:grpSpPr>
        <p:pic>
          <p:nvPicPr>
            <p:cNvPr id="69" name="Image 68">
              <a:extLst>
                <a:ext uri="{FF2B5EF4-FFF2-40B4-BE49-F238E27FC236}">
                  <a16:creationId xmlns:a16="http://schemas.microsoft.com/office/drawing/2014/main" id="{65F5C449-C0E3-470E-A0CC-883E778754F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051829" y="4365104"/>
              <a:ext cx="1612390" cy="1812273"/>
            </a:xfrm>
            <a:prstGeom prst="rect">
              <a:avLst/>
            </a:prstGeom>
            <a:ln w="3175">
              <a:solidFill>
                <a:schemeClr val="accent5"/>
              </a:solidFill>
            </a:ln>
          </p:spPr>
        </p:pic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2EBAE4FB-6AE9-40C5-9FD8-3A1DF4B25413}"/>
                </a:ext>
              </a:extLst>
            </p:cNvPr>
            <p:cNvSpPr/>
            <p:nvPr/>
          </p:nvSpPr>
          <p:spPr>
            <a:xfrm>
              <a:off x="7782776" y="5921200"/>
              <a:ext cx="757480" cy="113045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  <p:grpSp>
        <p:nvGrpSpPr>
          <p:cNvPr id="71" name="Groupe 70">
            <a:extLst>
              <a:ext uri="{FF2B5EF4-FFF2-40B4-BE49-F238E27FC236}">
                <a16:creationId xmlns:a16="http://schemas.microsoft.com/office/drawing/2014/main" id="{1898B2A0-40B6-4D08-888C-4669F7F1AE12}"/>
              </a:ext>
            </a:extLst>
          </p:cNvPr>
          <p:cNvGrpSpPr/>
          <p:nvPr/>
        </p:nvGrpSpPr>
        <p:grpSpPr>
          <a:xfrm>
            <a:off x="9950528" y="4365236"/>
            <a:ext cx="1631983" cy="1872076"/>
            <a:chOff x="9950528" y="4365236"/>
            <a:chExt cx="1631983" cy="1872076"/>
          </a:xfrm>
        </p:grpSpPr>
        <p:pic>
          <p:nvPicPr>
            <p:cNvPr id="72" name="Image 71">
              <a:extLst>
                <a:ext uri="{FF2B5EF4-FFF2-40B4-BE49-F238E27FC236}">
                  <a16:creationId xmlns:a16="http://schemas.microsoft.com/office/drawing/2014/main" id="{2CB623A6-7ED8-4901-9DCC-0D606309F3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950528" y="4365236"/>
              <a:ext cx="1631983" cy="1872076"/>
            </a:xfrm>
            <a:prstGeom prst="rect">
              <a:avLst/>
            </a:prstGeom>
            <a:ln w="3175">
              <a:solidFill>
                <a:schemeClr val="accent5"/>
              </a:solidFill>
            </a:ln>
          </p:spPr>
        </p:pic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6B5056FE-E3C3-421E-A202-75EF2F54CA83}"/>
                </a:ext>
              </a:extLst>
            </p:cNvPr>
            <p:cNvSpPr/>
            <p:nvPr/>
          </p:nvSpPr>
          <p:spPr>
            <a:xfrm>
              <a:off x="10939584" y="4902494"/>
              <a:ext cx="597572" cy="307681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962F0DE4-2BF0-49F8-800F-6B94114B9642}"/>
                </a:ext>
              </a:extLst>
            </p:cNvPr>
            <p:cNvSpPr/>
            <p:nvPr/>
          </p:nvSpPr>
          <p:spPr>
            <a:xfrm>
              <a:off x="11303625" y="6123969"/>
              <a:ext cx="269250" cy="98237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  <p:grpSp>
        <p:nvGrpSpPr>
          <p:cNvPr id="75" name="Groupe 74">
            <a:extLst>
              <a:ext uri="{FF2B5EF4-FFF2-40B4-BE49-F238E27FC236}">
                <a16:creationId xmlns:a16="http://schemas.microsoft.com/office/drawing/2014/main" id="{FF0D01C5-2152-4A7A-A702-DB3AD69D422D}"/>
              </a:ext>
            </a:extLst>
          </p:cNvPr>
          <p:cNvGrpSpPr/>
          <p:nvPr/>
        </p:nvGrpSpPr>
        <p:grpSpPr>
          <a:xfrm>
            <a:off x="6245023" y="2025350"/>
            <a:ext cx="5107561" cy="2002422"/>
            <a:chOff x="6245023" y="2025350"/>
            <a:chExt cx="5107561" cy="2002422"/>
          </a:xfrm>
        </p:grpSpPr>
        <p:pic>
          <p:nvPicPr>
            <p:cNvPr id="76" name="Image 75">
              <a:extLst>
                <a:ext uri="{FF2B5EF4-FFF2-40B4-BE49-F238E27FC236}">
                  <a16:creationId xmlns:a16="http://schemas.microsoft.com/office/drawing/2014/main" id="{016B6282-FD8C-4C5C-AABD-9F26933A6A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257624" y="2025350"/>
              <a:ext cx="5022952" cy="2002422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D8CF6607-E5BD-46F9-9996-D9F1B3E526A9}"/>
                </a:ext>
              </a:extLst>
            </p:cNvPr>
            <p:cNvSpPr/>
            <p:nvPr/>
          </p:nvSpPr>
          <p:spPr>
            <a:xfrm>
              <a:off x="6245023" y="2858551"/>
              <a:ext cx="576311" cy="138401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  <p:cxnSp>
          <p:nvCxnSpPr>
            <p:cNvPr id="78" name="Connecteur droit avec flèche 77">
              <a:extLst>
                <a:ext uri="{FF2B5EF4-FFF2-40B4-BE49-F238E27FC236}">
                  <a16:creationId xmlns:a16="http://schemas.microsoft.com/office/drawing/2014/main" id="{04D27E59-0FBB-409C-BA7D-0AD41C380CF4}"/>
                </a:ext>
              </a:extLst>
            </p:cNvPr>
            <p:cNvCxnSpPr>
              <a:cxnSpLocks/>
              <a:stCxn id="77" idx="3"/>
            </p:cNvCxnSpPr>
            <p:nvPr/>
          </p:nvCxnSpPr>
          <p:spPr>
            <a:xfrm flipV="1">
              <a:off x="6821334" y="2420888"/>
              <a:ext cx="3379122" cy="506864"/>
            </a:xfrm>
            <a:prstGeom prst="straightConnector1">
              <a:avLst/>
            </a:prstGeom>
            <a:ln w="28575">
              <a:solidFill>
                <a:srgbClr val="F6C93C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C3004ECF-6DD5-4F88-85F0-FFF9FCBC8B76}"/>
                </a:ext>
              </a:extLst>
            </p:cNvPr>
            <p:cNvSpPr/>
            <p:nvPr/>
          </p:nvSpPr>
          <p:spPr>
            <a:xfrm>
              <a:off x="10272217" y="2302878"/>
              <a:ext cx="1080367" cy="241700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  <p:sp>
        <p:nvSpPr>
          <p:cNvPr id="80" name="ZoneTexte 17">
            <a:extLst>
              <a:ext uri="{FF2B5EF4-FFF2-40B4-BE49-F238E27FC236}">
                <a16:creationId xmlns:a16="http://schemas.microsoft.com/office/drawing/2014/main" id="{432D4D63-F9F1-4213-8FC7-2C5E21E15522}"/>
              </a:ext>
            </a:extLst>
          </p:cNvPr>
          <p:cNvSpPr txBox="1"/>
          <p:nvPr userDrawn="1"/>
        </p:nvSpPr>
        <p:spPr>
          <a:xfrm>
            <a:off x="550800" y="403200"/>
            <a:ext cx="11070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500" b="1"/>
              <a:t>Changez le </a:t>
            </a:r>
            <a:r>
              <a:rPr lang="fr-CA" sz="3500" b="1">
                <a:solidFill>
                  <a:schemeClr val="accent1"/>
                </a:solidFill>
              </a:rPr>
              <a:t>symbole décimal </a:t>
            </a:r>
            <a:r>
              <a:rPr lang="fr-CA" sz="3500" b="1"/>
              <a:t>dans les graphiques en modifiant les paramètres dans le panneau de configuration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E32863D-9F4D-4129-BDA2-E09D121E57C2}"/>
              </a:ext>
            </a:extLst>
          </p:cNvPr>
          <p:cNvSpPr/>
          <p:nvPr userDrawn="1"/>
        </p:nvSpPr>
        <p:spPr>
          <a:xfrm>
            <a:off x="571200" y="1484784"/>
            <a:ext cx="5229896" cy="46132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/>
              <a:t>Allez dans les paramètres de Windows </a:t>
            </a:r>
            <a:br>
              <a:rPr lang="fr-CA" sz="1200" b="1" noProof="0"/>
            </a:br>
            <a:r>
              <a:rPr lang="fr-CA" sz="1200" b="1" noProof="0"/>
              <a:t>et cliquez sur « Heure et langue »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58A516C-5BEB-4E97-AAAE-C89EDE86D3B3}"/>
              </a:ext>
            </a:extLst>
          </p:cNvPr>
          <p:cNvSpPr/>
          <p:nvPr userDrawn="1"/>
        </p:nvSpPr>
        <p:spPr>
          <a:xfrm>
            <a:off x="571201" y="1504145"/>
            <a:ext cx="5229896" cy="260009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BE97CEF-F999-48E2-9B69-114B7E3930CE}"/>
              </a:ext>
            </a:extLst>
          </p:cNvPr>
          <p:cNvSpPr/>
          <p:nvPr userDrawn="1"/>
        </p:nvSpPr>
        <p:spPr>
          <a:xfrm>
            <a:off x="5900058" y="1484784"/>
            <a:ext cx="5720742" cy="46132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/>
              <a:t>Cliquez sur « Région », puis sur « Paramètres de date, d’heure et de région supplémentaires » sous « Paramètres connexes »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A8872D8F-6692-4BBC-9B15-BEE628172B2D}"/>
              </a:ext>
            </a:extLst>
          </p:cNvPr>
          <p:cNvSpPr/>
          <p:nvPr userDrawn="1"/>
        </p:nvSpPr>
        <p:spPr>
          <a:xfrm>
            <a:off x="5900059" y="1504145"/>
            <a:ext cx="5720742" cy="260009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4780A65-8424-49AB-9971-40762BCAB211}"/>
              </a:ext>
            </a:extLst>
          </p:cNvPr>
          <p:cNvSpPr/>
          <p:nvPr userDrawn="1"/>
        </p:nvSpPr>
        <p:spPr>
          <a:xfrm>
            <a:off x="8832364" y="4228408"/>
            <a:ext cx="1080060" cy="213050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32400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/>
              <a:t>Choisissez </a:t>
            </a:r>
            <a:br>
              <a:rPr lang="fr-CA" sz="1200" b="1" noProof="0"/>
            </a:br>
            <a:r>
              <a:rPr lang="fr-CA" sz="1200" b="1" noProof="0"/>
              <a:t>le symbole décimal et cliquez sur « Appliquer »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3CD48F2-B9F3-4C3C-8EB5-E531C22AA672}"/>
              </a:ext>
            </a:extLst>
          </p:cNvPr>
          <p:cNvSpPr/>
          <p:nvPr userDrawn="1"/>
        </p:nvSpPr>
        <p:spPr>
          <a:xfrm>
            <a:off x="8832364" y="4223520"/>
            <a:ext cx="2788437" cy="213539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77442394-597E-4469-B6A3-BB220921A5D6}"/>
              </a:ext>
            </a:extLst>
          </p:cNvPr>
          <p:cNvSpPr/>
          <p:nvPr userDrawn="1"/>
        </p:nvSpPr>
        <p:spPr>
          <a:xfrm>
            <a:off x="5617654" y="4221088"/>
            <a:ext cx="1414450" cy="2130509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324000" rIns="72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/>
              <a:t>Cliquez sur « Paramètres supplémentaires »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E9FAAAC0-F706-454E-9CBF-E9D6B176E058}"/>
              </a:ext>
            </a:extLst>
          </p:cNvPr>
          <p:cNvSpPr/>
          <p:nvPr userDrawn="1"/>
        </p:nvSpPr>
        <p:spPr>
          <a:xfrm>
            <a:off x="5617653" y="4223630"/>
            <a:ext cx="3157671" cy="213539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7FF70CE-8563-4A8F-A193-8BBA667057E2}"/>
              </a:ext>
            </a:extLst>
          </p:cNvPr>
          <p:cNvSpPr/>
          <p:nvPr userDrawn="1"/>
        </p:nvSpPr>
        <p:spPr>
          <a:xfrm>
            <a:off x="571197" y="4238526"/>
            <a:ext cx="1102501" cy="2120392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32400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/>
              <a:t>Cliquez sur « Modifier </a:t>
            </a:r>
            <a:br>
              <a:rPr lang="fr-CA" sz="1200" b="1" noProof="0"/>
            </a:br>
            <a:r>
              <a:rPr lang="fr-CA" sz="1200" b="1" noProof="0"/>
              <a:t>les formats de date, d’heure ou </a:t>
            </a:r>
            <a:br>
              <a:rPr lang="fr-CA" sz="1200" b="1" noProof="0"/>
            </a:br>
            <a:r>
              <a:rPr lang="fr-CA" sz="1200" b="1" noProof="0"/>
              <a:t>de nombre »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CD94E094-ABD6-46BD-955D-21F62AF51D42}"/>
              </a:ext>
            </a:extLst>
          </p:cNvPr>
          <p:cNvSpPr/>
          <p:nvPr userDrawn="1"/>
        </p:nvSpPr>
        <p:spPr>
          <a:xfrm>
            <a:off x="571199" y="4226084"/>
            <a:ext cx="4946176" cy="213539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369BC2D-FB8C-4A13-A983-4E31858B261E}"/>
              </a:ext>
            </a:extLst>
          </p:cNvPr>
          <p:cNvSpPr/>
          <p:nvPr userDrawn="1"/>
        </p:nvSpPr>
        <p:spPr>
          <a:xfrm>
            <a:off x="494146" y="1484784"/>
            <a:ext cx="400813" cy="278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CA" sz="1400" b="1" noProof="0"/>
              <a:t>1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D739EE0F-640C-49DC-8A2E-59DCA39CFF4E}"/>
              </a:ext>
            </a:extLst>
          </p:cNvPr>
          <p:cNvSpPr/>
          <p:nvPr userDrawn="1"/>
        </p:nvSpPr>
        <p:spPr>
          <a:xfrm>
            <a:off x="5844210" y="1484784"/>
            <a:ext cx="400813" cy="278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CA" sz="1400" b="1" noProof="0"/>
              <a:t>2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66F180A-5DB7-47D5-96D4-F6A876B66D25}"/>
              </a:ext>
            </a:extLst>
          </p:cNvPr>
          <p:cNvSpPr/>
          <p:nvPr userDrawn="1"/>
        </p:nvSpPr>
        <p:spPr>
          <a:xfrm>
            <a:off x="500702" y="4228409"/>
            <a:ext cx="400813" cy="278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CA" sz="1400" b="1" noProof="0"/>
              <a:t>3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68F9E458-6E32-4038-9EBB-5DF1C7AFF6D2}"/>
              </a:ext>
            </a:extLst>
          </p:cNvPr>
          <p:cNvSpPr/>
          <p:nvPr userDrawn="1"/>
        </p:nvSpPr>
        <p:spPr>
          <a:xfrm>
            <a:off x="5568024" y="4228409"/>
            <a:ext cx="400813" cy="278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CA" sz="1400" b="1" noProof="0"/>
              <a:t>4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3AA78734-7B63-4706-9789-B44F461E17E3}"/>
              </a:ext>
            </a:extLst>
          </p:cNvPr>
          <p:cNvSpPr/>
          <p:nvPr userDrawn="1"/>
        </p:nvSpPr>
        <p:spPr>
          <a:xfrm>
            <a:off x="8760296" y="4228409"/>
            <a:ext cx="400813" cy="278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CA" sz="1400" b="1" noProof="0"/>
              <a:t>5</a:t>
            </a:r>
          </a:p>
        </p:txBody>
      </p:sp>
      <p:grpSp>
        <p:nvGrpSpPr>
          <p:cNvPr id="96" name="Groupe 57">
            <a:extLst>
              <a:ext uri="{FF2B5EF4-FFF2-40B4-BE49-F238E27FC236}">
                <a16:creationId xmlns:a16="http://schemas.microsoft.com/office/drawing/2014/main" id="{38DC6707-CF3E-4D16-ACCE-22DFBD0BAA79}"/>
              </a:ext>
            </a:extLst>
          </p:cNvPr>
          <p:cNvGrpSpPr/>
          <p:nvPr userDrawn="1"/>
        </p:nvGrpSpPr>
        <p:grpSpPr>
          <a:xfrm>
            <a:off x="2135560" y="2019688"/>
            <a:ext cx="3424442" cy="2009057"/>
            <a:chOff x="1591438" y="2019688"/>
            <a:chExt cx="3424442" cy="2009057"/>
          </a:xfrm>
        </p:grpSpPr>
        <p:pic>
          <p:nvPicPr>
            <p:cNvPr id="97" name="Image 58">
              <a:extLst>
                <a:ext uri="{FF2B5EF4-FFF2-40B4-BE49-F238E27FC236}">
                  <a16:creationId xmlns:a16="http://schemas.microsoft.com/office/drawing/2014/main" id="{ADFED8C2-4AEB-4B01-A56F-AEBBB36C8C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1" t="2415" r="1881" b="2806"/>
            <a:stretch/>
          </p:blipFill>
          <p:spPr>
            <a:xfrm>
              <a:off x="1591438" y="2019688"/>
              <a:ext cx="3424442" cy="2009057"/>
            </a:xfrm>
            <a:prstGeom prst="rect">
              <a:avLst/>
            </a:prstGeom>
          </p:spPr>
        </p:pic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324768C4-2EB8-43E7-8537-35BDA49E35F7}"/>
                </a:ext>
              </a:extLst>
            </p:cNvPr>
            <p:cNvSpPr/>
            <p:nvPr userDrawn="1"/>
          </p:nvSpPr>
          <p:spPr>
            <a:xfrm>
              <a:off x="4346570" y="2953943"/>
              <a:ext cx="641355" cy="213216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  <p:grpSp>
        <p:nvGrpSpPr>
          <p:cNvPr id="99" name="Groupe 60">
            <a:extLst>
              <a:ext uri="{FF2B5EF4-FFF2-40B4-BE49-F238E27FC236}">
                <a16:creationId xmlns:a16="http://schemas.microsoft.com/office/drawing/2014/main" id="{FF47B8F2-1EBB-4F92-8F4E-67E0271471D1}"/>
              </a:ext>
            </a:extLst>
          </p:cNvPr>
          <p:cNvGrpSpPr/>
          <p:nvPr userDrawn="1"/>
        </p:nvGrpSpPr>
        <p:grpSpPr>
          <a:xfrm>
            <a:off x="632916" y="2019687"/>
            <a:ext cx="1261548" cy="2023845"/>
            <a:chOff x="632916" y="2019687"/>
            <a:chExt cx="1261548" cy="2023845"/>
          </a:xfrm>
        </p:grpSpPr>
        <p:pic>
          <p:nvPicPr>
            <p:cNvPr id="100" name="Image 61">
              <a:extLst>
                <a:ext uri="{FF2B5EF4-FFF2-40B4-BE49-F238E27FC236}">
                  <a16:creationId xmlns:a16="http://schemas.microsoft.com/office/drawing/2014/main" id="{1D12014F-FA33-46A7-9FA3-F490E770EA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8457" y="2019687"/>
              <a:ext cx="1246007" cy="2014378"/>
            </a:xfrm>
            <a:prstGeom prst="rect">
              <a:avLst/>
            </a:prstGeom>
          </p:spPr>
        </p:pic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037CC0A9-72C4-4941-9F2F-DEFF13EB8FAA}"/>
                </a:ext>
              </a:extLst>
            </p:cNvPr>
            <p:cNvSpPr/>
            <p:nvPr userDrawn="1"/>
          </p:nvSpPr>
          <p:spPr>
            <a:xfrm>
              <a:off x="632916" y="3910886"/>
              <a:ext cx="134492" cy="132646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A7A6CC3-095D-4FD8-9BEB-7090C4CD9667}"/>
                </a:ext>
              </a:extLst>
            </p:cNvPr>
            <p:cNvSpPr/>
            <p:nvPr userDrawn="1"/>
          </p:nvSpPr>
          <p:spPr>
            <a:xfrm>
              <a:off x="634243" y="3618928"/>
              <a:ext cx="754025" cy="170112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  <p:grpSp>
        <p:nvGrpSpPr>
          <p:cNvPr id="103" name="Groupe 64">
            <a:extLst>
              <a:ext uri="{FF2B5EF4-FFF2-40B4-BE49-F238E27FC236}">
                <a16:creationId xmlns:a16="http://schemas.microsoft.com/office/drawing/2014/main" id="{DC2D72E5-7294-40F7-9286-0E0AA8ECD289}"/>
              </a:ext>
            </a:extLst>
          </p:cNvPr>
          <p:cNvGrpSpPr/>
          <p:nvPr userDrawn="1"/>
        </p:nvGrpSpPr>
        <p:grpSpPr>
          <a:xfrm>
            <a:off x="1773976" y="4365104"/>
            <a:ext cx="3621760" cy="1800200"/>
            <a:chOff x="1773976" y="4365104"/>
            <a:chExt cx="3621760" cy="1800200"/>
          </a:xfrm>
        </p:grpSpPr>
        <p:pic>
          <p:nvPicPr>
            <p:cNvPr id="104" name="Image 65">
              <a:extLst>
                <a:ext uri="{FF2B5EF4-FFF2-40B4-BE49-F238E27FC236}">
                  <a16:creationId xmlns:a16="http://schemas.microsoft.com/office/drawing/2014/main" id="{92E4EA40-B0D7-459B-AEF2-53FD1742733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773976" y="4365104"/>
              <a:ext cx="3621760" cy="1800200"/>
            </a:xfrm>
            <a:prstGeom prst="rect">
              <a:avLst/>
            </a:prstGeom>
            <a:ln w="3175">
              <a:noFill/>
            </a:ln>
          </p:spPr>
        </p:pic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50961046-7D21-4C3A-9D81-D1A3306504E2}"/>
                </a:ext>
              </a:extLst>
            </p:cNvPr>
            <p:cNvSpPr/>
            <p:nvPr userDrawn="1"/>
          </p:nvSpPr>
          <p:spPr>
            <a:xfrm>
              <a:off x="2999656" y="5210175"/>
              <a:ext cx="2396079" cy="307032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  <p:grpSp>
        <p:nvGrpSpPr>
          <p:cNvPr id="106" name="Groupe 67">
            <a:extLst>
              <a:ext uri="{FF2B5EF4-FFF2-40B4-BE49-F238E27FC236}">
                <a16:creationId xmlns:a16="http://schemas.microsoft.com/office/drawing/2014/main" id="{EE0A9736-4965-4955-B5E4-37AAFBCD415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074971" y="4365103"/>
            <a:ext cx="1652700" cy="1874520"/>
            <a:chOff x="7051829" y="4365104"/>
            <a:chExt cx="1612390" cy="1812273"/>
          </a:xfrm>
        </p:grpSpPr>
        <p:pic>
          <p:nvPicPr>
            <p:cNvPr id="107" name="Image 68">
              <a:extLst>
                <a:ext uri="{FF2B5EF4-FFF2-40B4-BE49-F238E27FC236}">
                  <a16:creationId xmlns:a16="http://schemas.microsoft.com/office/drawing/2014/main" id="{EA07E691-CF79-44FF-AB68-432AE9C222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051829" y="4365104"/>
              <a:ext cx="1612390" cy="1812273"/>
            </a:xfrm>
            <a:prstGeom prst="rect">
              <a:avLst/>
            </a:prstGeom>
            <a:ln w="3175">
              <a:solidFill>
                <a:schemeClr val="accent5"/>
              </a:solidFill>
            </a:ln>
          </p:spPr>
        </p:pic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3ECCFF1B-21D3-4AA5-9157-E8E2D32AD2B2}"/>
                </a:ext>
              </a:extLst>
            </p:cNvPr>
            <p:cNvSpPr/>
            <p:nvPr userDrawn="1"/>
          </p:nvSpPr>
          <p:spPr>
            <a:xfrm>
              <a:off x="7782776" y="5921200"/>
              <a:ext cx="757480" cy="113045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  <p:grpSp>
        <p:nvGrpSpPr>
          <p:cNvPr id="109" name="Groupe 70">
            <a:extLst>
              <a:ext uri="{FF2B5EF4-FFF2-40B4-BE49-F238E27FC236}">
                <a16:creationId xmlns:a16="http://schemas.microsoft.com/office/drawing/2014/main" id="{66933CAA-CEF5-4F19-BF92-2425F272138C}"/>
              </a:ext>
            </a:extLst>
          </p:cNvPr>
          <p:cNvGrpSpPr/>
          <p:nvPr userDrawn="1"/>
        </p:nvGrpSpPr>
        <p:grpSpPr>
          <a:xfrm>
            <a:off x="9950528" y="4365236"/>
            <a:ext cx="1631983" cy="1872076"/>
            <a:chOff x="9950528" y="4365236"/>
            <a:chExt cx="1631983" cy="1872076"/>
          </a:xfrm>
        </p:grpSpPr>
        <p:pic>
          <p:nvPicPr>
            <p:cNvPr id="110" name="Image 71">
              <a:extLst>
                <a:ext uri="{FF2B5EF4-FFF2-40B4-BE49-F238E27FC236}">
                  <a16:creationId xmlns:a16="http://schemas.microsoft.com/office/drawing/2014/main" id="{9F8EE442-78B1-4590-9DFC-6274E8F240F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950528" y="4365236"/>
              <a:ext cx="1631983" cy="1872076"/>
            </a:xfrm>
            <a:prstGeom prst="rect">
              <a:avLst/>
            </a:prstGeom>
            <a:ln w="3175">
              <a:solidFill>
                <a:schemeClr val="accent5"/>
              </a:solidFill>
            </a:ln>
          </p:spPr>
        </p:pic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F87C7288-81DB-4BAE-A6AE-852F24567385}"/>
                </a:ext>
              </a:extLst>
            </p:cNvPr>
            <p:cNvSpPr/>
            <p:nvPr userDrawn="1"/>
          </p:nvSpPr>
          <p:spPr>
            <a:xfrm>
              <a:off x="10939584" y="4902494"/>
              <a:ext cx="597572" cy="307681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1BBD4E75-6EDE-4CD3-8F48-A20CAD19E06F}"/>
                </a:ext>
              </a:extLst>
            </p:cNvPr>
            <p:cNvSpPr/>
            <p:nvPr userDrawn="1"/>
          </p:nvSpPr>
          <p:spPr>
            <a:xfrm>
              <a:off x="11303625" y="6123969"/>
              <a:ext cx="269250" cy="98237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  <p:grpSp>
        <p:nvGrpSpPr>
          <p:cNvPr id="113" name="Groupe 74">
            <a:extLst>
              <a:ext uri="{FF2B5EF4-FFF2-40B4-BE49-F238E27FC236}">
                <a16:creationId xmlns:a16="http://schemas.microsoft.com/office/drawing/2014/main" id="{0B19D346-CA52-46FC-AD68-B7FA108239D8}"/>
              </a:ext>
            </a:extLst>
          </p:cNvPr>
          <p:cNvGrpSpPr/>
          <p:nvPr userDrawn="1"/>
        </p:nvGrpSpPr>
        <p:grpSpPr>
          <a:xfrm>
            <a:off x="6245023" y="2025350"/>
            <a:ext cx="5107561" cy="2002422"/>
            <a:chOff x="6245023" y="2025350"/>
            <a:chExt cx="5107561" cy="2002422"/>
          </a:xfrm>
        </p:grpSpPr>
        <p:pic>
          <p:nvPicPr>
            <p:cNvPr id="114" name="Image 75">
              <a:extLst>
                <a:ext uri="{FF2B5EF4-FFF2-40B4-BE49-F238E27FC236}">
                  <a16:creationId xmlns:a16="http://schemas.microsoft.com/office/drawing/2014/main" id="{A20C7943-FAFA-421A-BA0B-541B0580F3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6257624" y="2025350"/>
              <a:ext cx="5022952" cy="2002422"/>
            </a:xfrm>
            <a:prstGeom prst="rect">
              <a:avLst/>
            </a:prstGeom>
          </p:spPr>
        </p:pic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8578EA38-0E38-4622-8526-1A183E69EE91}"/>
                </a:ext>
              </a:extLst>
            </p:cNvPr>
            <p:cNvSpPr/>
            <p:nvPr userDrawn="1"/>
          </p:nvSpPr>
          <p:spPr>
            <a:xfrm>
              <a:off x="6245023" y="2858551"/>
              <a:ext cx="576311" cy="138401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  <p:cxnSp>
          <p:nvCxnSpPr>
            <p:cNvPr id="116" name="Connecteur droit avec flèche 77">
              <a:extLst>
                <a:ext uri="{FF2B5EF4-FFF2-40B4-BE49-F238E27FC236}">
                  <a16:creationId xmlns:a16="http://schemas.microsoft.com/office/drawing/2014/main" id="{9167088E-281B-4418-8CC9-0F10FC66DA20}"/>
                </a:ext>
              </a:extLst>
            </p:cNvPr>
            <p:cNvCxnSpPr>
              <a:cxnSpLocks/>
              <a:stCxn id="77" idx="3"/>
            </p:cNvCxnSpPr>
            <p:nvPr userDrawn="1"/>
          </p:nvCxnSpPr>
          <p:spPr>
            <a:xfrm flipV="1">
              <a:off x="6821334" y="2420888"/>
              <a:ext cx="3379122" cy="506864"/>
            </a:xfrm>
            <a:prstGeom prst="straightConnector1">
              <a:avLst/>
            </a:prstGeom>
            <a:ln w="28575">
              <a:solidFill>
                <a:srgbClr val="F6C93C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8684DFA0-6DD0-45E9-91FB-B542007AA327}"/>
                </a:ext>
              </a:extLst>
            </p:cNvPr>
            <p:cNvSpPr/>
            <p:nvPr userDrawn="1"/>
          </p:nvSpPr>
          <p:spPr>
            <a:xfrm>
              <a:off x="10272217" y="2302878"/>
              <a:ext cx="1080367" cy="241700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</a:pPr>
              <a:endParaRPr lang="fr-CA" sz="1400" b="1" noProof="0"/>
            </a:p>
          </p:txBody>
        </p:sp>
      </p:grpSp>
    </p:spTree>
    <p:extLst>
      <p:ext uri="{BB962C8B-B14F-4D97-AF65-F5344CB8AC3E}">
        <p14:creationId xmlns:p14="http://schemas.microsoft.com/office/powerpoint/2010/main" val="260306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réer des puces effic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">
            <a:extLst>
              <a:ext uri="{FF2B5EF4-FFF2-40B4-BE49-F238E27FC236}">
                <a16:creationId xmlns:a16="http://schemas.microsoft.com/office/drawing/2014/main" id="{FAE1E8B5-8A18-4637-B4C5-0657A07DF4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48968" t="24767" r="32084"/>
          <a:stretch/>
        </p:blipFill>
        <p:spPr>
          <a:xfrm>
            <a:off x="9308280" y="2980551"/>
            <a:ext cx="2165022" cy="10574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93FCA1B-6429-49EE-BAC5-FC3C2B33F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725D42C4-328D-4D55-839E-3A6CA1FE13F2}" type="datetime1">
              <a:rPr lang="fr-CA" smtClean="0"/>
              <a:pPr/>
              <a:t>2024-11-14</a:t>
            </a:fld>
            <a:endParaRPr lang="fr-C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0C0B1C1-7F35-40EB-992A-1607F263A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endParaRPr lang="fr-CA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DF78B49-AF56-4051-8181-8E55E77111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2C4E7F3-1A27-4B52-8C68-AB0E9FA3E98C}"/>
              </a:ext>
            </a:extLst>
          </p:cNvPr>
          <p:cNvSpPr txBox="1"/>
          <p:nvPr/>
        </p:nvSpPr>
        <p:spPr>
          <a:xfrm>
            <a:off x="550800" y="403200"/>
            <a:ext cx="11088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600" b="1">
                <a:latin typeface="+mn-lt"/>
              </a:rPr>
              <a:t>Principes à suivre pour créer des </a:t>
            </a:r>
            <a:r>
              <a:rPr lang="fr-CA" sz="3600" b="1">
                <a:solidFill>
                  <a:schemeClr val="accent1"/>
                </a:solidFill>
                <a:latin typeface="+mn-lt"/>
              </a:rPr>
              <a:t>puces</a:t>
            </a:r>
            <a:r>
              <a:rPr lang="fr-CA" sz="3600" b="1">
                <a:latin typeface="+mn-lt"/>
              </a:rPr>
              <a:t> efficaces</a:t>
            </a:r>
          </a:p>
        </p:txBody>
      </p:sp>
      <p:sp>
        <p:nvSpPr>
          <p:cNvPr id="42" name="Espace réservé du texte 1">
            <a:extLst>
              <a:ext uri="{FF2B5EF4-FFF2-40B4-BE49-F238E27FC236}">
                <a16:creationId xmlns:a16="http://schemas.microsoft.com/office/drawing/2014/main" id="{DB05F4D8-0ABD-4205-A88B-63280A4F86C3}"/>
              </a:ext>
            </a:extLst>
          </p:cNvPr>
          <p:cNvSpPr txBox="1">
            <a:spLocks/>
          </p:cNvSpPr>
          <p:nvPr/>
        </p:nvSpPr>
        <p:spPr>
          <a:xfrm>
            <a:off x="551384" y="1484784"/>
            <a:ext cx="8469495" cy="2736304"/>
          </a:xfrm>
          <a:prstGeom prst="roundRect">
            <a:avLst>
              <a:gd name="adj" fmla="val 1391"/>
            </a:avLst>
          </a:prstGeom>
          <a:solidFill>
            <a:schemeClr val="accent1"/>
          </a:solidFill>
        </p:spPr>
        <p:txBody>
          <a:bodyPr lIns="144000" tIns="144000" rIns="144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fr-CA" sz="2200" b="1" noProof="0">
                <a:solidFill>
                  <a:schemeClr val="bg1"/>
                </a:solidFill>
                <a:latin typeface="+mn-lt"/>
              </a:rPr>
              <a:t>Paramètres par défaut</a:t>
            </a:r>
            <a:br>
              <a:rPr lang="fr-CA" sz="2200" b="1" noProof="0">
                <a:solidFill>
                  <a:schemeClr val="bg1"/>
                </a:solidFill>
                <a:latin typeface="+mn-lt"/>
              </a:rPr>
            </a:br>
            <a:r>
              <a:rPr lang="fr-CA" sz="2200" b="1" noProof="0">
                <a:solidFill>
                  <a:schemeClr val="bg1"/>
                </a:solidFill>
                <a:latin typeface="+mn-lt"/>
              </a:rPr>
              <a:t>des puces dans </a:t>
            </a:r>
            <a:br>
              <a:rPr lang="fr-CA" sz="2200" b="1" noProof="0">
                <a:solidFill>
                  <a:schemeClr val="bg1"/>
                </a:solidFill>
                <a:latin typeface="+mn-lt"/>
              </a:rPr>
            </a:br>
            <a:r>
              <a:rPr lang="fr-CA" sz="2200" b="1" noProof="0">
                <a:solidFill>
                  <a:schemeClr val="bg1"/>
                </a:solidFill>
                <a:latin typeface="+mn-lt"/>
              </a:rPr>
              <a:t>votre gabarit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B463A231-5477-403F-8809-BDCB5ECAB6AE}"/>
              </a:ext>
            </a:extLst>
          </p:cNvPr>
          <p:cNvSpPr txBox="1">
            <a:spLocks/>
          </p:cNvSpPr>
          <p:nvPr/>
        </p:nvSpPr>
        <p:spPr>
          <a:xfrm>
            <a:off x="551384" y="4437577"/>
            <a:ext cx="1800200" cy="1943975"/>
          </a:xfrm>
          <a:prstGeom prst="roundRect">
            <a:avLst>
              <a:gd name="adj" fmla="val 1391"/>
            </a:avLst>
          </a:prstGeom>
          <a:solidFill>
            <a:schemeClr val="accent1"/>
          </a:solidFill>
        </p:spPr>
        <p:txBody>
          <a:bodyPr lIns="144000" tIns="144000" rIns="144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fr-CA" sz="2200" b="1" noProof="0">
                <a:solidFill>
                  <a:schemeClr val="bg1"/>
                </a:solidFill>
                <a:latin typeface="+mn-lt"/>
              </a:rPr>
              <a:t>Meilleures pratiques</a:t>
            </a:r>
          </a:p>
        </p:txBody>
      </p:sp>
      <p:sp>
        <p:nvSpPr>
          <p:cNvPr id="45" name="Espace réservé du contenu 7">
            <a:extLst>
              <a:ext uri="{FF2B5EF4-FFF2-40B4-BE49-F238E27FC236}">
                <a16:creationId xmlns:a16="http://schemas.microsoft.com/office/drawing/2014/main" id="{908F94BB-9DD2-47E3-AC8E-D144FF6AE360}"/>
              </a:ext>
            </a:extLst>
          </p:cNvPr>
          <p:cNvSpPr txBox="1">
            <a:spLocks/>
          </p:cNvSpPr>
          <p:nvPr/>
        </p:nvSpPr>
        <p:spPr>
          <a:xfrm>
            <a:off x="2495600" y="4437136"/>
            <a:ext cx="9145016" cy="1944192"/>
          </a:xfrm>
          <a:prstGeom prst="roundRect">
            <a:avLst>
              <a:gd name="adj" fmla="val 1067"/>
            </a:avLst>
          </a:prstGeom>
          <a:solidFill>
            <a:schemeClr val="bg2"/>
          </a:solidFill>
        </p:spPr>
        <p:txBody>
          <a:bodyPr lIns="216000" tIns="144000" rIns="216000" bIns="144000" anchor="ctr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800"/>
              </a:spcBef>
            </a:pPr>
            <a:r>
              <a:rPr lang="fr-CA" sz="1600" b="1">
                <a:latin typeface="+mn-lt"/>
              </a:rPr>
              <a:t>Évitez les longues phrases</a:t>
            </a:r>
          </a:p>
          <a:p>
            <a:pPr lvl="2">
              <a:spcBef>
                <a:spcPts val="100"/>
              </a:spcBef>
            </a:pPr>
            <a:r>
              <a:rPr lang="fr-CA" sz="1400">
                <a:latin typeface="+mn-lt"/>
              </a:rPr>
              <a:t>Ne pas dépasser 1 ou 2 lignes, si possible</a:t>
            </a:r>
          </a:p>
          <a:p>
            <a:pPr lvl="2">
              <a:spcBef>
                <a:spcPts val="100"/>
              </a:spcBef>
            </a:pPr>
            <a:r>
              <a:rPr lang="fr-CA" sz="1400">
                <a:latin typeface="+mn-lt"/>
              </a:rPr>
              <a:t>Pas de point à moins d’avoir 2 courtes phrases dans la même puce</a:t>
            </a:r>
          </a:p>
          <a:p>
            <a:pPr lvl="1">
              <a:spcBef>
                <a:spcPts val="500"/>
              </a:spcBef>
            </a:pPr>
            <a:r>
              <a:rPr lang="fr-CA" sz="1600" b="1">
                <a:latin typeface="+mn-lt"/>
              </a:rPr>
              <a:t>Utilisez des sous-puces plutôt que des puces comportant plusieurs phrases </a:t>
            </a:r>
          </a:p>
          <a:p>
            <a:pPr lvl="2">
              <a:spcBef>
                <a:spcPts val="100"/>
              </a:spcBef>
            </a:pPr>
            <a:r>
              <a:rPr lang="fr-CA" sz="1400">
                <a:latin typeface="+mn-lt"/>
              </a:rPr>
              <a:t>Pour des renseignements secondaires </a:t>
            </a:r>
          </a:p>
          <a:p>
            <a:pPr lvl="2">
              <a:spcBef>
                <a:spcPts val="100"/>
              </a:spcBef>
            </a:pPr>
            <a:r>
              <a:rPr lang="fr-CA" sz="1400">
                <a:latin typeface="+mn-lt"/>
              </a:rPr>
              <a:t>Pour appuyer / approfondir le contenu de la puce de premier niveau</a:t>
            </a:r>
          </a:p>
          <a:p>
            <a:pPr lvl="1">
              <a:spcBef>
                <a:spcPts val="500"/>
              </a:spcBef>
            </a:pPr>
            <a:r>
              <a:rPr lang="fr-CA" sz="1600" b="1">
                <a:latin typeface="+mn-lt"/>
              </a:rPr>
              <a:t>Ordonnez vos puces selon une logique évident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13411D4-BEC0-4FE7-A035-ED14A37CE36C}"/>
              </a:ext>
            </a:extLst>
          </p:cNvPr>
          <p:cNvSpPr/>
          <p:nvPr/>
        </p:nvSpPr>
        <p:spPr>
          <a:xfrm>
            <a:off x="767407" y="2792428"/>
            <a:ext cx="3024337" cy="12846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r>
              <a:rPr lang="fr-CA" sz="1400" noProof="0">
                <a:solidFill>
                  <a:schemeClr val="accent1"/>
                </a:solidFill>
                <a:latin typeface="+mn-lt"/>
              </a:rPr>
              <a:t>N’hésitez pas, au besoin, à modifier </a:t>
            </a:r>
            <a:br>
              <a:rPr lang="fr-CA" sz="1400" noProof="0">
                <a:solidFill>
                  <a:schemeClr val="accent1"/>
                </a:solidFill>
                <a:latin typeface="+mn-lt"/>
              </a:rPr>
            </a:br>
            <a:r>
              <a:rPr lang="fr-CA" sz="1400" noProof="0">
                <a:solidFill>
                  <a:schemeClr val="accent1"/>
                </a:solidFill>
                <a:latin typeface="+mn-lt"/>
              </a:rPr>
              <a:t>la taille des puces pour optimiser </a:t>
            </a:r>
            <a:br>
              <a:rPr lang="fr-CA" sz="1400" noProof="0">
                <a:solidFill>
                  <a:schemeClr val="accent1"/>
                </a:solidFill>
                <a:latin typeface="+mn-lt"/>
              </a:rPr>
            </a:br>
            <a:r>
              <a:rPr lang="fr-CA" sz="1400" noProof="0">
                <a:solidFill>
                  <a:schemeClr val="accent1"/>
                </a:solidFill>
                <a:latin typeface="+mn-lt"/>
              </a:rPr>
              <a:t>les espaces vides sur votre page. </a:t>
            </a:r>
            <a:br>
              <a:rPr lang="fr-CA" sz="1400" noProof="0">
                <a:solidFill>
                  <a:schemeClr val="accent1"/>
                </a:solidFill>
                <a:latin typeface="+mn-lt"/>
              </a:rPr>
            </a:br>
            <a:r>
              <a:rPr lang="fr-CA" sz="1400" noProof="0">
                <a:solidFill>
                  <a:schemeClr val="accent1"/>
                </a:solidFill>
                <a:latin typeface="+mn-lt"/>
              </a:rPr>
              <a:t>La taille maximale des puces devrait toujours être égale ou inférieure </a:t>
            </a:r>
            <a:br>
              <a:rPr lang="fr-CA" sz="1400" noProof="0">
                <a:solidFill>
                  <a:schemeClr val="accent1"/>
                </a:solidFill>
                <a:latin typeface="+mn-lt"/>
              </a:rPr>
            </a:br>
            <a:r>
              <a:rPr lang="fr-CA" sz="1400" noProof="0">
                <a:solidFill>
                  <a:schemeClr val="accent1"/>
                </a:solidFill>
                <a:latin typeface="+mn-lt"/>
              </a:rPr>
              <a:t>à la taille de la manchette.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ED2137D-8C08-49E1-8B74-A4419856E182}"/>
              </a:ext>
            </a:extLst>
          </p:cNvPr>
          <p:cNvSpPr txBox="1"/>
          <p:nvPr/>
        </p:nvSpPr>
        <p:spPr>
          <a:xfrm>
            <a:off x="6456160" y="198973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E38FBA-5BDE-4A62-AA57-63FC0412C94C}"/>
              </a:ext>
            </a:extLst>
          </p:cNvPr>
          <p:cNvSpPr/>
          <p:nvPr/>
        </p:nvSpPr>
        <p:spPr bwMode="auto">
          <a:xfrm>
            <a:off x="6456062" y="1691361"/>
            <a:ext cx="1080000" cy="22547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Taille de </a:t>
            </a:r>
            <a:br>
              <a:rPr lang="fr-CA" sz="1200" b="1" noProof="0">
                <a:solidFill>
                  <a:schemeClr val="bg1"/>
                </a:solidFill>
                <a:latin typeface="+mn-lt"/>
              </a:rPr>
            </a:br>
            <a:r>
              <a:rPr lang="fr-CA" sz="1200" b="1" noProof="0">
                <a:solidFill>
                  <a:schemeClr val="bg1"/>
                </a:solidFill>
                <a:latin typeface="+mn-lt"/>
              </a:rPr>
              <a:t>la poli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74045CA-A1F4-4B5C-A52E-1C4E1358F7AD}"/>
              </a:ext>
            </a:extLst>
          </p:cNvPr>
          <p:cNvSpPr/>
          <p:nvPr/>
        </p:nvSpPr>
        <p:spPr bwMode="auto">
          <a:xfrm>
            <a:off x="4447302" y="1989732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1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r 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(Sans puce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C30D87-8929-4307-BD73-9FCD63E307EC}"/>
              </a:ext>
            </a:extLst>
          </p:cNvPr>
          <p:cNvSpPr/>
          <p:nvPr/>
        </p:nvSpPr>
        <p:spPr bwMode="auto">
          <a:xfrm>
            <a:off x="4447302" y="2223646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2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noProof="0">
                <a:solidFill>
                  <a:schemeClr val="bg1"/>
                </a:solidFill>
                <a:latin typeface="+mn-lt"/>
              </a:rPr>
              <a:t> (Puce niveau 1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028A230-A29F-4792-9FF0-19EAAB04FF66}"/>
              </a:ext>
            </a:extLst>
          </p:cNvPr>
          <p:cNvSpPr/>
          <p:nvPr/>
        </p:nvSpPr>
        <p:spPr bwMode="auto">
          <a:xfrm>
            <a:off x="4447302" y="2457560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3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noProof="0">
                <a:solidFill>
                  <a:schemeClr val="bg1"/>
                </a:solidFill>
                <a:latin typeface="+mn-lt"/>
              </a:rPr>
              <a:t> (Puce niveau 2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8BD3FFC-1764-46AE-91D2-529C162A8295}"/>
              </a:ext>
            </a:extLst>
          </p:cNvPr>
          <p:cNvSpPr/>
          <p:nvPr/>
        </p:nvSpPr>
        <p:spPr bwMode="auto">
          <a:xfrm>
            <a:off x="4447302" y="2691474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4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noProof="0">
                <a:solidFill>
                  <a:schemeClr val="bg1"/>
                </a:solidFill>
                <a:latin typeface="+mn-lt"/>
              </a:rPr>
              <a:t> (Puce niveau 3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02C90A4-BC46-44C2-8FC2-00F527AAA893}"/>
              </a:ext>
            </a:extLst>
          </p:cNvPr>
          <p:cNvSpPr/>
          <p:nvPr/>
        </p:nvSpPr>
        <p:spPr bwMode="auto">
          <a:xfrm>
            <a:off x="7678244" y="1700832"/>
            <a:ext cx="1080000" cy="216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Espacement </a:t>
            </a:r>
            <a:br>
              <a:rPr lang="fr-CA" sz="1200" b="1" noProof="0">
                <a:solidFill>
                  <a:schemeClr val="bg1"/>
                </a:solidFill>
                <a:latin typeface="+mn-lt"/>
              </a:rPr>
            </a:br>
            <a:r>
              <a:rPr lang="fr-CA" sz="1200" b="1" noProof="0">
                <a:solidFill>
                  <a:schemeClr val="bg1"/>
                </a:solidFill>
                <a:latin typeface="+mn-lt"/>
              </a:rPr>
              <a:t>avant </a:t>
            </a:r>
            <a:r>
              <a:rPr lang="fr-CA" sz="1200" b="1" i="1" noProof="0">
                <a:solidFill>
                  <a:schemeClr val="bg1"/>
                </a:solidFill>
                <a:latin typeface="+mn-lt"/>
              </a:rPr>
              <a:t>(pt)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A6FA9CC9-C553-494D-B280-B286355794A0}"/>
              </a:ext>
            </a:extLst>
          </p:cNvPr>
          <p:cNvSpPr txBox="1"/>
          <p:nvPr/>
        </p:nvSpPr>
        <p:spPr>
          <a:xfrm>
            <a:off x="7680296" y="198973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4E18F701-47E9-41F1-90ED-1E59F468C61B}"/>
              </a:ext>
            </a:extLst>
          </p:cNvPr>
          <p:cNvSpPr txBox="1"/>
          <p:nvPr/>
        </p:nvSpPr>
        <p:spPr>
          <a:xfrm>
            <a:off x="6456160" y="222364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95856600-8078-48D2-A5B6-F281E1DCDEDF}"/>
              </a:ext>
            </a:extLst>
          </p:cNvPr>
          <p:cNvSpPr txBox="1"/>
          <p:nvPr/>
        </p:nvSpPr>
        <p:spPr>
          <a:xfrm>
            <a:off x="7680296" y="222364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4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01D7FA7A-40B4-4FD9-B2D3-E4475AE8E144}"/>
              </a:ext>
            </a:extLst>
          </p:cNvPr>
          <p:cNvSpPr txBox="1"/>
          <p:nvPr/>
        </p:nvSpPr>
        <p:spPr>
          <a:xfrm>
            <a:off x="6456160" y="245756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4DFEE6F8-8D33-4AC2-9842-026C34DEC26B}"/>
              </a:ext>
            </a:extLst>
          </p:cNvPr>
          <p:cNvSpPr txBox="1"/>
          <p:nvPr/>
        </p:nvSpPr>
        <p:spPr>
          <a:xfrm>
            <a:off x="7680296" y="245756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7F976C75-501C-4AA1-8D9C-20CD2F42562B}"/>
              </a:ext>
            </a:extLst>
          </p:cNvPr>
          <p:cNvSpPr txBox="1"/>
          <p:nvPr/>
        </p:nvSpPr>
        <p:spPr>
          <a:xfrm>
            <a:off x="6456160" y="269147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6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A193E7A2-D51A-4E3B-8E50-79DBC0C1F6F2}"/>
              </a:ext>
            </a:extLst>
          </p:cNvPr>
          <p:cNvSpPr txBox="1"/>
          <p:nvPr/>
        </p:nvSpPr>
        <p:spPr>
          <a:xfrm>
            <a:off x="7680296" y="269147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44F5843-CA78-4B1A-A792-18E6CBFFD2E9}"/>
              </a:ext>
            </a:extLst>
          </p:cNvPr>
          <p:cNvSpPr/>
          <p:nvPr/>
        </p:nvSpPr>
        <p:spPr bwMode="auto">
          <a:xfrm>
            <a:off x="4447302" y="1692045"/>
            <a:ext cx="1872205" cy="224787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Niveau</a:t>
            </a:r>
          </a:p>
        </p:txBody>
      </p:sp>
      <p:sp>
        <p:nvSpPr>
          <p:cNvPr id="28" name="Rectangle : coins arrondis 27">
            <a:extLst>
              <a:ext uri="{FF2B5EF4-FFF2-40B4-BE49-F238E27FC236}">
                <a16:creationId xmlns:a16="http://schemas.microsoft.com/office/drawing/2014/main" id="{26553027-13F1-4834-87CF-39544FDD3D35}"/>
              </a:ext>
            </a:extLst>
          </p:cNvPr>
          <p:cNvSpPr/>
          <p:nvPr/>
        </p:nvSpPr>
        <p:spPr bwMode="auto">
          <a:xfrm>
            <a:off x="9168441" y="1484783"/>
            <a:ext cx="2472175" cy="2736304"/>
          </a:xfrm>
          <a:prstGeom prst="roundRect">
            <a:avLst>
              <a:gd name="adj" fmla="val 2262"/>
            </a:avLst>
          </a:prstGeom>
          <a:noFill/>
          <a:ln w="28575">
            <a:solidFill>
              <a:schemeClr val="accent6"/>
            </a:solidFill>
          </a:ln>
        </p:spPr>
        <p:txBody>
          <a:bodyPr rot="0" spcFirstLastPara="0" vertOverflow="overflow" horzOverflow="overflow" vert="horz" wrap="square" lIns="180000" tIns="144000" rIns="180000" bIns="12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2000" b="1" i="1" noProof="0">
                <a:solidFill>
                  <a:schemeClr val="tx1"/>
                </a:solidFill>
                <a:latin typeface="+mn-lt"/>
              </a:rPr>
              <a:t>Astuc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46C59F9-C9D7-4E15-8FD8-9C03BC624D85}"/>
              </a:ext>
            </a:extLst>
          </p:cNvPr>
          <p:cNvSpPr/>
          <p:nvPr/>
        </p:nvSpPr>
        <p:spPr>
          <a:xfrm>
            <a:off x="9308278" y="2088431"/>
            <a:ext cx="2195218" cy="73866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indent="0">
              <a:spcBef>
                <a:spcPts val="600"/>
              </a:spcBef>
              <a:buSzPct val="110000"/>
              <a:buFont typeface="+mj-lt"/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ns le menu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ccueil</a:t>
            </a: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tilisez ces boutons pour ajuster le niveau des puces</a:t>
            </a: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064C4578-DCF3-4743-88E0-FC143761A7C5}"/>
              </a:ext>
            </a:extLst>
          </p:cNvPr>
          <p:cNvGrpSpPr/>
          <p:nvPr/>
        </p:nvGrpSpPr>
        <p:grpSpPr>
          <a:xfrm>
            <a:off x="9308280" y="2839917"/>
            <a:ext cx="2184774" cy="229043"/>
            <a:chOff x="8586544" y="2751508"/>
            <a:chExt cx="2886696" cy="229043"/>
          </a:xfrm>
        </p:grpSpPr>
        <p:sp>
          <p:nvSpPr>
            <p:cNvPr id="31" name="Triangle isocèle 30">
              <a:extLst>
                <a:ext uri="{FF2B5EF4-FFF2-40B4-BE49-F238E27FC236}">
                  <a16:creationId xmlns:a16="http://schemas.microsoft.com/office/drawing/2014/main" id="{C6B931CC-18FE-4916-AAA9-105C9E8F939C}"/>
                </a:ext>
              </a:extLst>
            </p:cNvPr>
            <p:cNvSpPr/>
            <p:nvPr/>
          </p:nvSpPr>
          <p:spPr>
            <a:xfrm flipV="1">
              <a:off x="9791729" y="2751508"/>
              <a:ext cx="436827" cy="22904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6000" rIns="126000" rtlCol="0" anchor="ctr"/>
            <a:lstStyle/>
            <a:p>
              <a:pPr algn="ctr">
                <a:spcBef>
                  <a:spcPts val="1200"/>
                </a:spcBef>
              </a:pPr>
              <a:endParaRPr lang="fr-CA" sz="1800" noProof="0">
                <a:latin typeface="+mn-lt"/>
              </a:endParaRPr>
            </a:p>
          </p:txBody>
        </p:sp>
        <p:cxnSp>
          <p:nvCxnSpPr>
            <p:cNvPr id="32" name="Connecteur droit 31">
              <a:extLst>
                <a:ext uri="{FF2B5EF4-FFF2-40B4-BE49-F238E27FC236}">
                  <a16:creationId xmlns:a16="http://schemas.microsoft.com/office/drawing/2014/main" id="{BB952102-29E0-416F-9FCA-B5532E4CD136}"/>
                </a:ext>
              </a:extLst>
            </p:cNvPr>
            <p:cNvCxnSpPr>
              <a:cxnSpLocks/>
            </p:cNvCxnSpPr>
            <p:nvPr/>
          </p:nvCxnSpPr>
          <p:spPr>
            <a:xfrm>
              <a:off x="8586544" y="2751508"/>
              <a:ext cx="2886696" cy="6489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B7E79808-0045-41E5-84C2-03DC18B2674D}"/>
              </a:ext>
            </a:extLst>
          </p:cNvPr>
          <p:cNvSpPr/>
          <p:nvPr/>
        </p:nvSpPr>
        <p:spPr>
          <a:xfrm>
            <a:off x="10051818" y="3096552"/>
            <a:ext cx="630821" cy="280744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>
              <a:latin typeface="+mn-lt"/>
            </a:endParaRPr>
          </a:p>
        </p:txBody>
      </p:sp>
      <p:pic>
        <p:nvPicPr>
          <p:cNvPr id="35" name="Image 34">
            <a:extLst>
              <a:ext uri="{FF2B5EF4-FFF2-40B4-BE49-F238E27FC236}">
                <a16:creationId xmlns:a16="http://schemas.microsoft.com/office/drawing/2014/main" id="{34457280-8B95-4B04-BA09-F7178E8ACA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30570" y="3905642"/>
            <a:ext cx="578111" cy="12044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55EB7588-47C4-4D2E-91B4-B87DAB74815D}"/>
              </a:ext>
            </a:extLst>
          </p:cNvPr>
          <p:cNvSpPr/>
          <p:nvPr/>
        </p:nvSpPr>
        <p:spPr bwMode="auto">
          <a:xfrm>
            <a:off x="4447302" y="2925388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5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(Puce avec chiffre)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32BECB43-DC4E-45A1-BDFA-EF1F6DF030B2}"/>
              </a:ext>
            </a:extLst>
          </p:cNvPr>
          <p:cNvSpPr txBox="1"/>
          <p:nvPr/>
        </p:nvSpPr>
        <p:spPr>
          <a:xfrm>
            <a:off x="6456160" y="292539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8279E373-EE2D-4B11-92B9-C17CC0E4738F}"/>
              </a:ext>
            </a:extLst>
          </p:cNvPr>
          <p:cNvSpPr txBox="1"/>
          <p:nvPr/>
        </p:nvSpPr>
        <p:spPr>
          <a:xfrm>
            <a:off x="7680296" y="292539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4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A53A5D2-7A6F-406E-96A1-AA4C11F2A52B}"/>
              </a:ext>
            </a:extLst>
          </p:cNvPr>
          <p:cNvSpPr/>
          <p:nvPr/>
        </p:nvSpPr>
        <p:spPr bwMode="auto">
          <a:xfrm>
            <a:off x="4447302" y="3159302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6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(Puce avec lettre)</a:t>
            </a:r>
            <a:endParaRPr lang="fr-CA" sz="1200" b="1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FFF4A3AA-E36D-48E5-A9E4-823CCE9BB5E9}"/>
              </a:ext>
            </a:extLst>
          </p:cNvPr>
          <p:cNvSpPr txBox="1"/>
          <p:nvPr/>
        </p:nvSpPr>
        <p:spPr>
          <a:xfrm>
            <a:off x="6456160" y="315930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591A3080-8EA7-4F3C-9B9E-C6CE39DC1353}"/>
              </a:ext>
            </a:extLst>
          </p:cNvPr>
          <p:cNvSpPr txBox="1"/>
          <p:nvPr/>
        </p:nvSpPr>
        <p:spPr>
          <a:xfrm>
            <a:off x="7680296" y="315930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A3AE907-8BD1-49A7-A012-53B3450DFDB4}"/>
              </a:ext>
            </a:extLst>
          </p:cNvPr>
          <p:cNvSpPr/>
          <p:nvPr/>
        </p:nvSpPr>
        <p:spPr bwMode="auto">
          <a:xfrm>
            <a:off x="4447302" y="3393216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7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(Titre de paragraphe)</a:t>
            </a:r>
            <a:endParaRPr lang="fr-CA" sz="1200" b="1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129CB23E-365E-4CDA-8563-62E0CF73DDB0}"/>
              </a:ext>
            </a:extLst>
          </p:cNvPr>
          <p:cNvSpPr txBox="1"/>
          <p:nvPr/>
        </p:nvSpPr>
        <p:spPr>
          <a:xfrm>
            <a:off x="6456160" y="339322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4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4F5F5DC2-B2B6-4843-928A-BC195067A76A}"/>
              </a:ext>
            </a:extLst>
          </p:cNvPr>
          <p:cNvSpPr txBox="1"/>
          <p:nvPr/>
        </p:nvSpPr>
        <p:spPr>
          <a:xfrm>
            <a:off x="7680296" y="339322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01BD018-435C-45EE-BC14-7FBA90CF9803}"/>
              </a:ext>
            </a:extLst>
          </p:cNvPr>
          <p:cNvSpPr/>
          <p:nvPr/>
        </p:nvSpPr>
        <p:spPr bwMode="auto">
          <a:xfrm>
            <a:off x="4447302" y="3627130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8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(2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option sans puce)</a:t>
            </a:r>
            <a:endParaRPr lang="fr-CA" sz="1200" b="1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64AC6469-AD0E-41E8-82D5-03BAD4244BC9}"/>
              </a:ext>
            </a:extLst>
          </p:cNvPr>
          <p:cNvSpPr txBox="1"/>
          <p:nvPr/>
        </p:nvSpPr>
        <p:spPr>
          <a:xfrm>
            <a:off x="6456160" y="362713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</a:p>
        </p:txBody>
      </p:sp>
      <p:sp>
        <p:nvSpPr>
          <p:cNvPr id="52" name="ZoneTexte 51">
            <a:extLst>
              <a:ext uri="{FF2B5EF4-FFF2-40B4-BE49-F238E27FC236}">
                <a16:creationId xmlns:a16="http://schemas.microsoft.com/office/drawing/2014/main" id="{EA27A2CB-6089-4B09-BB7B-1C1135803768}"/>
              </a:ext>
            </a:extLst>
          </p:cNvPr>
          <p:cNvSpPr txBox="1"/>
          <p:nvPr/>
        </p:nvSpPr>
        <p:spPr>
          <a:xfrm>
            <a:off x="7680296" y="362713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8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101F505-8ACF-4D65-AAA8-97E55EEA6089}"/>
              </a:ext>
            </a:extLst>
          </p:cNvPr>
          <p:cNvSpPr/>
          <p:nvPr/>
        </p:nvSpPr>
        <p:spPr bwMode="auto">
          <a:xfrm>
            <a:off x="4447302" y="3861048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9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(Identique au 3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niveau)</a:t>
            </a:r>
            <a:endParaRPr lang="fr-CA" sz="1200" b="1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B641A8B9-D739-4C68-BB6A-A06FC384F935}"/>
              </a:ext>
            </a:extLst>
          </p:cNvPr>
          <p:cNvSpPr txBox="1"/>
          <p:nvPr/>
        </p:nvSpPr>
        <p:spPr>
          <a:xfrm>
            <a:off x="6456160" y="3861052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</a:t>
            </a: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E1BE7A19-0AA4-47E7-8887-2E9328B92F7A}"/>
              </a:ext>
            </a:extLst>
          </p:cNvPr>
          <p:cNvSpPr txBox="1"/>
          <p:nvPr/>
        </p:nvSpPr>
        <p:spPr>
          <a:xfrm>
            <a:off x="7680296" y="3861052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  <p:pic>
        <p:nvPicPr>
          <p:cNvPr id="49" name="Picture 3">
            <a:extLst>
              <a:ext uri="{FF2B5EF4-FFF2-40B4-BE49-F238E27FC236}">
                <a16:creationId xmlns:a16="http://schemas.microsoft.com/office/drawing/2014/main" id="{9AD2D89A-35BB-4130-87FE-AB8D9FD89A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48968" t="24767" r="32084"/>
          <a:stretch/>
        </p:blipFill>
        <p:spPr>
          <a:xfrm>
            <a:off x="9308280" y="2980551"/>
            <a:ext cx="2165022" cy="10574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6" name="ZoneTexte 17">
            <a:extLst>
              <a:ext uri="{FF2B5EF4-FFF2-40B4-BE49-F238E27FC236}">
                <a16:creationId xmlns:a16="http://schemas.microsoft.com/office/drawing/2014/main" id="{7BD99112-B4C0-43F5-A68A-FE7DDD6D7A37}"/>
              </a:ext>
            </a:extLst>
          </p:cNvPr>
          <p:cNvSpPr txBox="1"/>
          <p:nvPr userDrawn="1"/>
        </p:nvSpPr>
        <p:spPr>
          <a:xfrm>
            <a:off x="550800" y="403200"/>
            <a:ext cx="11088000" cy="10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>
              <a:lnSpc>
                <a:spcPct val="85000"/>
              </a:lnSpc>
              <a:spcBef>
                <a:spcPts val="0"/>
              </a:spcBef>
            </a:pPr>
            <a:r>
              <a:rPr lang="fr-CA" sz="3600" b="1">
                <a:latin typeface="+mn-lt"/>
              </a:rPr>
              <a:t>Principes à suivre pour créer des </a:t>
            </a:r>
            <a:r>
              <a:rPr lang="fr-CA" sz="3600" b="1">
                <a:solidFill>
                  <a:schemeClr val="accent1"/>
                </a:solidFill>
                <a:latin typeface="+mn-lt"/>
              </a:rPr>
              <a:t>puces</a:t>
            </a:r>
            <a:r>
              <a:rPr lang="fr-CA" sz="3600" b="1">
                <a:latin typeface="+mn-lt"/>
              </a:rPr>
              <a:t> efficaces</a:t>
            </a:r>
          </a:p>
        </p:txBody>
      </p:sp>
      <p:sp>
        <p:nvSpPr>
          <p:cNvPr id="57" name="Espace réservé du texte 1">
            <a:extLst>
              <a:ext uri="{FF2B5EF4-FFF2-40B4-BE49-F238E27FC236}">
                <a16:creationId xmlns:a16="http://schemas.microsoft.com/office/drawing/2014/main" id="{73ADDE0F-0AAA-49F9-9239-9EC514DCB007}"/>
              </a:ext>
            </a:extLst>
          </p:cNvPr>
          <p:cNvSpPr txBox="1">
            <a:spLocks/>
          </p:cNvSpPr>
          <p:nvPr userDrawn="1"/>
        </p:nvSpPr>
        <p:spPr>
          <a:xfrm>
            <a:off x="551384" y="1484784"/>
            <a:ext cx="8469495" cy="2736304"/>
          </a:xfrm>
          <a:prstGeom prst="roundRect">
            <a:avLst>
              <a:gd name="adj" fmla="val 1391"/>
            </a:avLst>
          </a:prstGeom>
          <a:solidFill>
            <a:schemeClr val="accent1"/>
          </a:solidFill>
        </p:spPr>
        <p:txBody>
          <a:bodyPr lIns="144000" tIns="144000" rIns="144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fr-CA" sz="2200" b="1" noProof="0">
                <a:solidFill>
                  <a:schemeClr val="bg1"/>
                </a:solidFill>
                <a:latin typeface="+mn-lt"/>
              </a:rPr>
              <a:t>Paramètres par défaut</a:t>
            </a:r>
            <a:br>
              <a:rPr lang="fr-CA" sz="2200" b="1" noProof="0">
                <a:solidFill>
                  <a:schemeClr val="bg1"/>
                </a:solidFill>
                <a:latin typeface="+mn-lt"/>
              </a:rPr>
            </a:br>
            <a:r>
              <a:rPr lang="fr-CA" sz="2200" b="1" noProof="0">
                <a:solidFill>
                  <a:schemeClr val="bg1"/>
                </a:solidFill>
                <a:latin typeface="+mn-lt"/>
              </a:rPr>
              <a:t>des puces dans </a:t>
            </a:r>
            <a:br>
              <a:rPr lang="fr-CA" sz="2200" b="1" noProof="0">
                <a:solidFill>
                  <a:schemeClr val="bg1"/>
                </a:solidFill>
                <a:latin typeface="+mn-lt"/>
              </a:rPr>
            </a:br>
            <a:r>
              <a:rPr lang="fr-CA" sz="2200" b="1" noProof="0">
                <a:solidFill>
                  <a:schemeClr val="bg1"/>
                </a:solidFill>
                <a:latin typeface="+mn-lt"/>
              </a:rPr>
              <a:t>votre gabarit</a:t>
            </a:r>
          </a:p>
        </p:txBody>
      </p:sp>
      <p:sp>
        <p:nvSpPr>
          <p:cNvPr id="58" name="Espace réservé du texte 2">
            <a:extLst>
              <a:ext uri="{FF2B5EF4-FFF2-40B4-BE49-F238E27FC236}">
                <a16:creationId xmlns:a16="http://schemas.microsoft.com/office/drawing/2014/main" id="{D1EB507C-D29A-46CA-8FA9-0E509A9AFB12}"/>
              </a:ext>
            </a:extLst>
          </p:cNvPr>
          <p:cNvSpPr txBox="1">
            <a:spLocks/>
          </p:cNvSpPr>
          <p:nvPr userDrawn="1"/>
        </p:nvSpPr>
        <p:spPr>
          <a:xfrm>
            <a:off x="551384" y="4437577"/>
            <a:ext cx="1800200" cy="1943975"/>
          </a:xfrm>
          <a:prstGeom prst="roundRect">
            <a:avLst>
              <a:gd name="adj" fmla="val 1391"/>
            </a:avLst>
          </a:prstGeom>
          <a:solidFill>
            <a:schemeClr val="accent1"/>
          </a:solidFill>
        </p:spPr>
        <p:txBody>
          <a:bodyPr lIns="144000" tIns="144000" rIns="144000" bIns="144000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600"/>
              </a:spcBef>
            </a:pPr>
            <a:r>
              <a:rPr lang="fr-CA" sz="2200" b="1" noProof="0">
                <a:solidFill>
                  <a:schemeClr val="bg1"/>
                </a:solidFill>
                <a:latin typeface="+mn-lt"/>
              </a:rPr>
              <a:t>Meilleures pratiques</a:t>
            </a:r>
          </a:p>
        </p:txBody>
      </p:sp>
      <p:sp>
        <p:nvSpPr>
          <p:cNvPr id="59" name="Espace réservé du contenu 7">
            <a:extLst>
              <a:ext uri="{FF2B5EF4-FFF2-40B4-BE49-F238E27FC236}">
                <a16:creationId xmlns:a16="http://schemas.microsoft.com/office/drawing/2014/main" id="{26F2FEE7-1C96-49E1-B342-1939E4F2E6CB}"/>
              </a:ext>
            </a:extLst>
          </p:cNvPr>
          <p:cNvSpPr txBox="1">
            <a:spLocks/>
          </p:cNvSpPr>
          <p:nvPr userDrawn="1"/>
        </p:nvSpPr>
        <p:spPr>
          <a:xfrm>
            <a:off x="2495600" y="4437136"/>
            <a:ext cx="9145016" cy="1944192"/>
          </a:xfrm>
          <a:prstGeom prst="roundRect">
            <a:avLst>
              <a:gd name="adj" fmla="val 1067"/>
            </a:avLst>
          </a:prstGeom>
          <a:solidFill>
            <a:schemeClr val="bg2"/>
          </a:solidFill>
        </p:spPr>
        <p:txBody>
          <a:bodyPr lIns="216000" tIns="144000" rIns="216000" bIns="144000" anchor="ctr"/>
          <a:lstStyle>
            <a:lvl1pPr marL="68400" indent="-6840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Font typeface="Arial" panose="020B0604020202020204" pitchFamily="34" charset="0"/>
              <a:buChar char=" 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800"/>
              </a:spcBef>
            </a:pPr>
            <a:r>
              <a:rPr lang="fr-CA" sz="1600" b="1">
                <a:latin typeface="+mn-lt"/>
              </a:rPr>
              <a:t>Évitez les longues phrases</a:t>
            </a:r>
          </a:p>
          <a:p>
            <a:pPr lvl="2">
              <a:spcBef>
                <a:spcPts val="100"/>
              </a:spcBef>
            </a:pPr>
            <a:r>
              <a:rPr lang="fr-CA" sz="1400">
                <a:latin typeface="+mn-lt"/>
              </a:rPr>
              <a:t>Ne pas dépasser 1 ou 2 lignes, si possible</a:t>
            </a:r>
          </a:p>
          <a:p>
            <a:pPr lvl="2">
              <a:spcBef>
                <a:spcPts val="100"/>
              </a:spcBef>
            </a:pPr>
            <a:r>
              <a:rPr lang="fr-CA" sz="1400">
                <a:latin typeface="+mn-lt"/>
              </a:rPr>
              <a:t>Pas de point à moins d’avoir 2 courtes phrases dans la même puce</a:t>
            </a:r>
          </a:p>
          <a:p>
            <a:pPr lvl="1">
              <a:spcBef>
                <a:spcPts val="500"/>
              </a:spcBef>
            </a:pPr>
            <a:r>
              <a:rPr lang="fr-CA" sz="1600" b="1">
                <a:latin typeface="+mn-lt"/>
              </a:rPr>
              <a:t>Utilisez des sous-puces plutôt que des puces comportant plusieurs phrases </a:t>
            </a:r>
          </a:p>
          <a:p>
            <a:pPr lvl="2">
              <a:spcBef>
                <a:spcPts val="100"/>
              </a:spcBef>
            </a:pPr>
            <a:r>
              <a:rPr lang="fr-CA" sz="1400">
                <a:latin typeface="+mn-lt"/>
              </a:rPr>
              <a:t>Pour des renseignements secondaires </a:t>
            </a:r>
          </a:p>
          <a:p>
            <a:pPr lvl="2">
              <a:spcBef>
                <a:spcPts val="100"/>
              </a:spcBef>
            </a:pPr>
            <a:r>
              <a:rPr lang="fr-CA" sz="1400">
                <a:latin typeface="+mn-lt"/>
              </a:rPr>
              <a:t>Pour appuyer / approfondir le contenu de la puce de premier niveau</a:t>
            </a:r>
          </a:p>
          <a:p>
            <a:pPr lvl="1">
              <a:spcBef>
                <a:spcPts val="500"/>
              </a:spcBef>
            </a:pPr>
            <a:r>
              <a:rPr lang="fr-CA" sz="1600" b="1">
                <a:latin typeface="+mn-lt"/>
              </a:rPr>
              <a:t>Ordonnez vos puces selon une logique évidente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A711332-C960-4D9F-A131-8BCC0F4A3815}"/>
              </a:ext>
            </a:extLst>
          </p:cNvPr>
          <p:cNvSpPr/>
          <p:nvPr userDrawn="1"/>
        </p:nvSpPr>
        <p:spPr>
          <a:xfrm>
            <a:off x="767407" y="2792428"/>
            <a:ext cx="3024337" cy="12846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Ins="108000" rtlCol="0" anchor="ctr"/>
          <a:lstStyle/>
          <a:p>
            <a:pPr algn="l">
              <a:lnSpc>
                <a:spcPct val="90000"/>
              </a:lnSpc>
              <a:spcBef>
                <a:spcPts val="1200"/>
              </a:spcBef>
            </a:pPr>
            <a:r>
              <a:rPr lang="fr-CA" sz="1400" noProof="0">
                <a:solidFill>
                  <a:schemeClr val="accent1"/>
                </a:solidFill>
                <a:latin typeface="+mn-lt"/>
              </a:rPr>
              <a:t>N’hésitez pas, au besoin, à modifier </a:t>
            </a:r>
            <a:br>
              <a:rPr lang="fr-CA" sz="1400" noProof="0">
                <a:solidFill>
                  <a:schemeClr val="accent1"/>
                </a:solidFill>
                <a:latin typeface="+mn-lt"/>
              </a:rPr>
            </a:br>
            <a:r>
              <a:rPr lang="fr-CA" sz="1400" noProof="0">
                <a:solidFill>
                  <a:schemeClr val="accent1"/>
                </a:solidFill>
                <a:latin typeface="+mn-lt"/>
              </a:rPr>
              <a:t>la taille des puces pour optimiser </a:t>
            </a:r>
            <a:br>
              <a:rPr lang="fr-CA" sz="1400" noProof="0">
                <a:solidFill>
                  <a:schemeClr val="accent1"/>
                </a:solidFill>
                <a:latin typeface="+mn-lt"/>
              </a:rPr>
            </a:br>
            <a:r>
              <a:rPr lang="fr-CA" sz="1400" noProof="0">
                <a:solidFill>
                  <a:schemeClr val="accent1"/>
                </a:solidFill>
                <a:latin typeface="+mn-lt"/>
              </a:rPr>
              <a:t>les espaces vides sur votre page. </a:t>
            </a:r>
            <a:br>
              <a:rPr lang="fr-CA" sz="1400" noProof="0">
                <a:solidFill>
                  <a:schemeClr val="accent1"/>
                </a:solidFill>
                <a:latin typeface="+mn-lt"/>
              </a:rPr>
            </a:br>
            <a:r>
              <a:rPr lang="fr-CA" sz="1400" noProof="0">
                <a:solidFill>
                  <a:schemeClr val="accent1"/>
                </a:solidFill>
                <a:latin typeface="+mn-lt"/>
              </a:rPr>
              <a:t>La taille maximale des puces devrait toujours être égale ou inférieure </a:t>
            </a:r>
            <a:br>
              <a:rPr lang="fr-CA" sz="1400" noProof="0">
                <a:solidFill>
                  <a:schemeClr val="accent1"/>
                </a:solidFill>
                <a:latin typeface="+mn-lt"/>
              </a:rPr>
            </a:br>
            <a:r>
              <a:rPr lang="fr-CA" sz="1400" noProof="0">
                <a:solidFill>
                  <a:schemeClr val="accent1"/>
                </a:solidFill>
                <a:latin typeface="+mn-lt"/>
              </a:rPr>
              <a:t>à la taille de la manchette.</a:t>
            </a:r>
          </a:p>
        </p:txBody>
      </p:sp>
      <p:sp>
        <p:nvSpPr>
          <p:cNvPr id="61" name="ZoneTexte 10">
            <a:extLst>
              <a:ext uri="{FF2B5EF4-FFF2-40B4-BE49-F238E27FC236}">
                <a16:creationId xmlns:a16="http://schemas.microsoft.com/office/drawing/2014/main" id="{F854EB0C-8FB1-42D6-A413-95645BAA1D19}"/>
              </a:ext>
            </a:extLst>
          </p:cNvPr>
          <p:cNvSpPr txBox="1"/>
          <p:nvPr userDrawn="1"/>
        </p:nvSpPr>
        <p:spPr>
          <a:xfrm>
            <a:off x="6456160" y="198973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4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6BF24656-5196-423A-B193-1800A709C42C}"/>
              </a:ext>
            </a:extLst>
          </p:cNvPr>
          <p:cNvSpPr/>
          <p:nvPr userDrawn="1"/>
        </p:nvSpPr>
        <p:spPr bwMode="auto">
          <a:xfrm>
            <a:off x="6456062" y="1691361"/>
            <a:ext cx="1080000" cy="22547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Taille de </a:t>
            </a:r>
            <a:br>
              <a:rPr lang="fr-CA" sz="1200" b="1" noProof="0">
                <a:solidFill>
                  <a:schemeClr val="bg1"/>
                </a:solidFill>
                <a:latin typeface="+mn-lt"/>
              </a:rPr>
            </a:br>
            <a:r>
              <a:rPr lang="fr-CA" sz="1200" b="1" noProof="0">
                <a:solidFill>
                  <a:schemeClr val="bg1"/>
                </a:solidFill>
                <a:latin typeface="+mn-lt"/>
              </a:rPr>
              <a:t>la polic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FBDF4AA-B430-4567-B5FA-D595222C5BF3}"/>
              </a:ext>
            </a:extLst>
          </p:cNvPr>
          <p:cNvSpPr/>
          <p:nvPr userDrawn="1"/>
        </p:nvSpPr>
        <p:spPr bwMode="auto">
          <a:xfrm>
            <a:off x="4447302" y="1989732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1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r 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(Sans puce)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0A7421A-2AB4-4CDF-83F2-F5DE3C92B7A3}"/>
              </a:ext>
            </a:extLst>
          </p:cNvPr>
          <p:cNvSpPr/>
          <p:nvPr userDrawn="1"/>
        </p:nvSpPr>
        <p:spPr bwMode="auto">
          <a:xfrm>
            <a:off x="4447302" y="2223646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2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noProof="0">
                <a:solidFill>
                  <a:schemeClr val="bg1"/>
                </a:solidFill>
                <a:latin typeface="+mn-lt"/>
              </a:rPr>
              <a:t> (Puce niveau 1)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285CD1C7-AB5F-4B88-89EC-044F6D6F5AD5}"/>
              </a:ext>
            </a:extLst>
          </p:cNvPr>
          <p:cNvSpPr/>
          <p:nvPr userDrawn="1"/>
        </p:nvSpPr>
        <p:spPr bwMode="auto">
          <a:xfrm>
            <a:off x="4447302" y="2457560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3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noProof="0">
                <a:solidFill>
                  <a:schemeClr val="bg1"/>
                </a:solidFill>
                <a:latin typeface="+mn-lt"/>
              </a:rPr>
              <a:t> (Puce niveau 2)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CA920EA-793F-4FDA-A1AF-C0A4D217A14D}"/>
              </a:ext>
            </a:extLst>
          </p:cNvPr>
          <p:cNvSpPr/>
          <p:nvPr userDrawn="1"/>
        </p:nvSpPr>
        <p:spPr bwMode="auto">
          <a:xfrm>
            <a:off x="4447302" y="2691474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4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noProof="0">
                <a:solidFill>
                  <a:schemeClr val="bg1"/>
                </a:solidFill>
                <a:latin typeface="+mn-lt"/>
              </a:rPr>
              <a:t> (Puce niveau 3)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0FAD257-BF54-483C-A974-3AACF9670C59}"/>
              </a:ext>
            </a:extLst>
          </p:cNvPr>
          <p:cNvSpPr/>
          <p:nvPr userDrawn="1"/>
        </p:nvSpPr>
        <p:spPr bwMode="auto">
          <a:xfrm>
            <a:off x="7678244" y="1700832"/>
            <a:ext cx="1080000" cy="21600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Espacement </a:t>
            </a:r>
            <a:br>
              <a:rPr lang="fr-CA" sz="1200" b="1" noProof="0">
                <a:solidFill>
                  <a:schemeClr val="bg1"/>
                </a:solidFill>
                <a:latin typeface="+mn-lt"/>
              </a:rPr>
            </a:br>
            <a:r>
              <a:rPr lang="fr-CA" sz="1200" b="1" noProof="0">
                <a:solidFill>
                  <a:schemeClr val="bg1"/>
                </a:solidFill>
                <a:latin typeface="+mn-lt"/>
              </a:rPr>
              <a:t>avant </a:t>
            </a:r>
            <a:r>
              <a:rPr lang="fr-CA" sz="1200" b="1" i="1" noProof="0">
                <a:solidFill>
                  <a:schemeClr val="bg1"/>
                </a:solidFill>
                <a:latin typeface="+mn-lt"/>
              </a:rPr>
              <a:t>(pt)</a:t>
            </a:r>
          </a:p>
        </p:txBody>
      </p:sp>
      <p:sp>
        <p:nvSpPr>
          <p:cNvPr id="68" name="ZoneTexte 18">
            <a:extLst>
              <a:ext uri="{FF2B5EF4-FFF2-40B4-BE49-F238E27FC236}">
                <a16:creationId xmlns:a16="http://schemas.microsoft.com/office/drawing/2014/main" id="{8014F26E-4888-4A59-8908-787C5F9B97AA}"/>
              </a:ext>
            </a:extLst>
          </p:cNvPr>
          <p:cNvSpPr txBox="1"/>
          <p:nvPr userDrawn="1"/>
        </p:nvSpPr>
        <p:spPr>
          <a:xfrm>
            <a:off x="7680296" y="198973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</a:t>
            </a:r>
          </a:p>
        </p:txBody>
      </p:sp>
      <p:sp>
        <p:nvSpPr>
          <p:cNvPr id="69" name="ZoneTexte 19">
            <a:extLst>
              <a:ext uri="{FF2B5EF4-FFF2-40B4-BE49-F238E27FC236}">
                <a16:creationId xmlns:a16="http://schemas.microsoft.com/office/drawing/2014/main" id="{4AACAE7E-AB49-40C7-902C-529D0041EDA3}"/>
              </a:ext>
            </a:extLst>
          </p:cNvPr>
          <p:cNvSpPr txBox="1"/>
          <p:nvPr userDrawn="1"/>
        </p:nvSpPr>
        <p:spPr>
          <a:xfrm>
            <a:off x="6456160" y="222364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</a:p>
        </p:txBody>
      </p:sp>
      <p:sp>
        <p:nvSpPr>
          <p:cNvPr id="70" name="ZoneTexte 20">
            <a:extLst>
              <a:ext uri="{FF2B5EF4-FFF2-40B4-BE49-F238E27FC236}">
                <a16:creationId xmlns:a16="http://schemas.microsoft.com/office/drawing/2014/main" id="{310F3328-2A39-4D4F-8BD4-7CB4043FA2A2}"/>
              </a:ext>
            </a:extLst>
          </p:cNvPr>
          <p:cNvSpPr txBox="1"/>
          <p:nvPr userDrawn="1"/>
        </p:nvSpPr>
        <p:spPr>
          <a:xfrm>
            <a:off x="7680296" y="222364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4</a:t>
            </a:r>
          </a:p>
        </p:txBody>
      </p:sp>
      <p:sp>
        <p:nvSpPr>
          <p:cNvPr id="71" name="ZoneTexte 21">
            <a:extLst>
              <a:ext uri="{FF2B5EF4-FFF2-40B4-BE49-F238E27FC236}">
                <a16:creationId xmlns:a16="http://schemas.microsoft.com/office/drawing/2014/main" id="{67EACCFA-65EB-47DE-AFE8-C8F9D0E46DE8}"/>
              </a:ext>
            </a:extLst>
          </p:cNvPr>
          <p:cNvSpPr txBox="1"/>
          <p:nvPr userDrawn="1"/>
        </p:nvSpPr>
        <p:spPr>
          <a:xfrm>
            <a:off x="6456160" y="245756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</a:t>
            </a:r>
          </a:p>
        </p:txBody>
      </p:sp>
      <p:sp>
        <p:nvSpPr>
          <p:cNvPr id="72" name="ZoneTexte 22">
            <a:extLst>
              <a:ext uri="{FF2B5EF4-FFF2-40B4-BE49-F238E27FC236}">
                <a16:creationId xmlns:a16="http://schemas.microsoft.com/office/drawing/2014/main" id="{2EAE1AA4-E7D9-4760-84BB-0EFFFCA6D840}"/>
              </a:ext>
            </a:extLst>
          </p:cNvPr>
          <p:cNvSpPr txBox="1"/>
          <p:nvPr userDrawn="1"/>
        </p:nvSpPr>
        <p:spPr>
          <a:xfrm>
            <a:off x="7680296" y="245756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  <p:sp>
        <p:nvSpPr>
          <p:cNvPr id="73" name="ZoneTexte 23">
            <a:extLst>
              <a:ext uri="{FF2B5EF4-FFF2-40B4-BE49-F238E27FC236}">
                <a16:creationId xmlns:a16="http://schemas.microsoft.com/office/drawing/2014/main" id="{2BDC3C28-6B59-4381-BEF7-87169997AEF7}"/>
              </a:ext>
            </a:extLst>
          </p:cNvPr>
          <p:cNvSpPr txBox="1"/>
          <p:nvPr userDrawn="1"/>
        </p:nvSpPr>
        <p:spPr>
          <a:xfrm>
            <a:off x="6456160" y="269147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6</a:t>
            </a:r>
          </a:p>
        </p:txBody>
      </p:sp>
      <p:sp>
        <p:nvSpPr>
          <p:cNvPr id="74" name="ZoneTexte 24">
            <a:extLst>
              <a:ext uri="{FF2B5EF4-FFF2-40B4-BE49-F238E27FC236}">
                <a16:creationId xmlns:a16="http://schemas.microsoft.com/office/drawing/2014/main" id="{5103512A-F831-460B-9C27-8BE3120112EB}"/>
              </a:ext>
            </a:extLst>
          </p:cNvPr>
          <p:cNvSpPr txBox="1"/>
          <p:nvPr userDrawn="1"/>
        </p:nvSpPr>
        <p:spPr>
          <a:xfrm>
            <a:off x="7680296" y="269147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CE6961F-F90D-4A0E-9FA4-5BD7DB4F92A0}"/>
              </a:ext>
            </a:extLst>
          </p:cNvPr>
          <p:cNvSpPr/>
          <p:nvPr userDrawn="1"/>
        </p:nvSpPr>
        <p:spPr bwMode="auto">
          <a:xfrm>
            <a:off x="4447302" y="1692045"/>
            <a:ext cx="1872205" cy="224787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Niveau</a:t>
            </a:r>
          </a:p>
        </p:txBody>
      </p:sp>
      <p:sp>
        <p:nvSpPr>
          <p:cNvPr id="76" name="Rectangle : coins arrondis 27">
            <a:extLst>
              <a:ext uri="{FF2B5EF4-FFF2-40B4-BE49-F238E27FC236}">
                <a16:creationId xmlns:a16="http://schemas.microsoft.com/office/drawing/2014/main" id="{D4813963-05C4-4872-9051-37004B439776}"/>
              </a:ext>
            </a:extLst>
          </p:cNvPr>
          <p:cNvSpPr/>
          <p:nvPr userDrawn="1"/>
        </p:nvSpPr>
        <p:spPr bwMode="auto">
          <a:xfrm>
            <a:off x="9168441" y="1484783"/>
            <a:ext cx="2472175" cy="2736304"/>
          </a:xfrm>
          <a:prstGeom prst="roundRect">
            <a:avLst>
              <a:gd name="adj" fmla="val 2262"/>
            </a:avLst>
          </a:prstGeom>
          <a:noFill/>
          <a:ln w="28575">
            <a:solidFill>
              <a:schemeClr val="accent6"/>
            </a:solidFill>
          </a:ln>
        </p:spPr>
        <p:txBody>
          <a:bodyPr rot="0" spcFirstLastPara="0" vertOverflow="overflow" horzOverflow="overflow" vert="horz" wrap="square" lIns="180000" tIns="144000" rIns="180000" bIns="12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2000" b="1" i="1" noProof="0">
                <a:solidFill>
                  <a:schemeClr val="tx1"/>
                </a:solidFill>
                <a:latin typeface="+mn-lt"/>
              </a:rPr>
              <a:t>Astuce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3323CA6-A06C-4850-8CD3-C33106AC6FC1}"/>
              </a:ext>
            </a:extLst>
          </p:cNvPr>
          <p:cNvSpPr/>
          <p:nvPr userDrawn="1"/>
        </p:nvSpPr>
        <p:spPr>
          <a:xfrm>
            <a:off x="9308278" y="2088431"/>
            <a:ext cx="2195218" cy="73866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indent="0">
              <a:spcBef>
                <a:spcPts val="600"/>
              </a:spcBef>
              <a:buSzPct val="110000"/>
              <a:buFont typeface="+mj-lt"/>
              <a:buNone/>
            </a:pP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ns le menu </a:t>
            </a:r>
            <a:r>
              <a:rPr lang="fr-CA" sz="1400" b="1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ccueil</a:t>
            </a: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fr-CA" sz="1400" kern="0" noProof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tilisez ces boutons pour ajuster le niveau des puces</a:t>
            </a:r>
          </a:p>
        </p:txBody>
      </p:sp>
      <p:grpSp>
        <p:nvGrpSpPr>
          <p:cNvPr id="78" name="Groupe 29">
            <a:extLst>
              <a:ext uri="{FF2B5EF4-FFF2-40B4-BE49-F238E27FC236}">
                <a16:creationId xmlns:a16="http://schemas.microsoft.com/office/drawing/2014/main" id="{469D3CAD-F517-4F62-AC93-0DAD6F34D07D}"/>
              </a:ext>
            </a:extLst>
          </p:cNvPr>
          <p:cNvGrpSpPr/>
          <p:nvPr userDrawn="1"/>
        </p:nvGrpSpPr>
        <p:grpSpPr>
          <a:xfrm>
            <a:off x="9308280" y="2839917"/>
            <a:ext cx="2184774" cy="229043"/>
            <a:chOff x="8586544" y="2751508"/>
            <a:chExt cx="2886696" cy="229043"/>
          </a:xfrm>
        </p:grpSpPr>
        <p:sp>
          <p:nvSpPr>
            <p:cNvPr id="79" name="Triangle isocèle 30">
              <a:extLst>
                <a:ext uri="{FF2B5EF4-FFF2-40B4-BE49-F238E27FC236}">
                  <a16:creationId xmlns:a16="http://schemas.microsoft.com/office/drawing/2014/main" id="{3BA99D34-0615-4DA9-9C70-F6F5CC9FF6AF}"/>
                </a:ext>
              </a:extLst>
            </p:cNvPr>
            <p:cNvSpPr/>
            <p:nvPr/>
          </p:nvSpPr>
          <p:spPr>
            <a:xfrm flipV="1">
              <a:off x="9791729" y="2751508"/>
              <a:ext cx="436827" cy="229043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6000" rIns="126000" rtlCol="0" anchor="ctr"/>
            <a:lstStyle/>
            <a:p>
              <a:pPr algn="ctr">
                <a:spcBef>
                  <a:spcPts val="1200"/>
                </a:spcBef>
              </a:pPr>
              <a:endParaRPr lang="fr-CA" sz="1800" noProof="0">
                <a:latin typeface="+mn-lt"/>
              </a:endParaRPr>
            </a:p>
          </p:txBody>
        </p:sp>
        <p:cxnSp>
          <p:nvCxnSpPr>
            <p:cNvPr id="80" name="Connecteur droit 31">
              <a:extLst>
                <a:ext uri="{FF2B5EF4-FFF2-40B4-BE49-F238E27FC236}">
                  <a16:creationId xmlns:a16="http://schemas.microsoft.com/office/drawing/2014/main" id="{0AF1B189-7BEC-45E8-8D2F-78DC9A1D0372}"/>
                </a:ext>
              </a:extLst>
            </p:cNvPr>
            <p:cNvCxnSpPr>
              <a:cxnSpLocks/>
            </p:cNvCxnSpPr>
            <p:nvPr/>
          </p:nvCxnSpPr>
          <p:spPr>
            <a:xfrm>
              <a:off x="8586544" y="2751508"/>
              <a:ext cx="2886696" cy="6489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E6BE24FE-41B1-406E-B04D-66B2592E0032}"/>
              </a:ext>
            </a:extLst>
          </p:cNvPr>
          <p:cNvSpPr/>
          <p:nvPr userDrawn="1"/>
        </p:nvSpPr>
        <p:spPr>
          <a:xfrm>
            <a:off x="10051818" y="3096552"/>
            <a:ext cx="630821" cy="280744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000" tIns="45720" rIns="12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fr-CA" sz="1400" b="1" noProof="0">
              <a:latin typeface="+mn-lt"/>
            </a:endParaRPr>
          </a:p>
        </p:txBody>
      </p:sp>
      <p:pic>
        <p:nvPicPr>
          <p:cNvPr id="82" name="Image 34">
            <a:extLst>
              <a:ext uri="{FF2B5EF4-FFF2-40B4-BE49-F238E27FC236}">
                <a16:creationId xmlns:a16="http://schemas.microsoft.com/office/drawing/2014/main" id="{583BDBDB-0D31-4C20-B8ED-92AE2FA45D5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30570" y="3905642"/>
            <a:ext cx="578111" cy="120440"/>
          </a:xfrm>
          <a:prstGeom prst="rect">
            <a:avLst/>
          </a:prstGeom>
        </p:spPr>
      </p:pic>
      <p:sp>
        <p:nvSpPr>
          <p:cNvPr id="83" name="Rectangle 82">
            <a:extLst>
              <a:ext uri="{FF2B5EF4-FFF2-40B4-BE49-F238E27FC236}">
                <a16:creationId xmlns:a16="http://schemas.microsoft.com/office/drawing/2014/main" id="{CE812533-0D59-4274-BF51-FA8C2A116B78}"/>
              </a:ext>
            </a:extLst>
          </p:cNvPr>
          <p:cNvSpPr/>
          <p:nvPr userDrawn="1"/>
        </p:nvSpPr>
        <p:spPr bwMode="auto">
          <a:xfrm>
            <a:off x="4447302" y="2925388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5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(Puce avec chiffre)</a:t>
            </a:r>
          </a:p>
        </p:txBody>
      </p:sp>
      <p:sp>
        <p:nvSpPr>
          <p:cNvPr id="84" name="ZoneTexte 36">
            <a:extLst>
              <a:ext uri="{FF2B5EF4-FFF2-40B4-BE49-F238E27FC236}">
                <a16:creationId xmlns:a16="http://schemas.microsoft.com/office/drawing/2014/main" id="{3A50DAD9-04FB-4506-BC2A-CEFFAE237053}"/>
              </a:ext>
            </a:extLst>
          </p:cNvPr>
          <p:cNvSpPr txBox="1"/>
          <p:nvPr userDrawn="1"/>
        </p:nvSpPr>
        <p:spPr>
          <a:xfrm>
            <a:off x="6456160" y="292539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</a:p>
        </p:txBody>
      </p:sp>
      <p:sp>
        <p:nvSpPr>
          <p:cNvPr id="85" name="ZoneTexte 37">
            <a:extLst>
              <a:ext uri="{FF2B5EF4-FFF2-40B4-BE49-F238E27FC236}">
                <a16:creationId xmlns:a16="http://schemas.microsoft.com/office/drawing/2014/main" id="{35CA1CA7-E375-4989-AE14-2C1339FABCF5}"/>
              </a:ext>
            </a:extLst>
          </p:cNvPr>
          <p:cNvSpPr txBox="1"/>
          <p:nvPr userDrawn="1"/>
        </p:nvSpPr>
        <p:spPr>
          <a:xfrm>
            <a:off x="7680296" y="292539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4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093C74D-852A-4B32-84C6-3896BBD7E708}"/>
              </a:ext>
            </a:extLst>
          </p:cNvPr>
          <p:cNvSpPr/>
          <p:nvPr userDrawn="1"/>
        </p:nvSpPr>
        <p:spPr bwMode="auto">
          <a:xfrm>
            <a:off x="4447302" y="3159302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6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(Puce avec lettre)</a:t>
            </a:r>
            <a:endParaRPr lang="fr-CA" sz="1200" b="1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7" name="ZoneTexte 39">
            <a:extLst>
              <a:ext uri="{FF2B5EF4-FFF2-40B4-BE49-F238E27FC236}">
                <a16:creationId xmlns:a16="http://schemas.microsoft.com/office/drawing/2014/main" id="{CD5D3DDB-FB54-4428-8761-A970E2C1D5F7}"/>
              </a:ext>
            </a:extLst>
          </p:cNvPr>
          <p:cNvSpPr txBox="1"/>
          <p:nvPr userDrawn="1"/>
        </p:nvSpPr>
        <p:spPr>
          <a:xfrm>
            <a:off x="6456160" y="315930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</a:t>
            </a:r>
          </a:p>
        </p:txBody>
      </p:sp>
      <p:sp>
        <p:nvSpPr>
          <p:cNvPr id="88" name="ZoneTexte 40">
            <a:extLst>
              <a:ext uri="{FF2B5EF4-FFF2-40B4-BE49-F238E27FC236}">
                <a16:creationId xmlns:a16="http://schemas.microsoft.com/office/drawing/2014/main" id="{50A7BA90-D0C8-45A6-B24D-B0E0D47D4D02}"/>
              </a:ext>
            </a:extLst>
          </p:cNvPr>
          <p:cNvSpPr txBox="1"/>
          <p:nvPr userDrawn="1"/>
        </p:nvSpPr>
        <p:spPr>
          <a:xfrm>
            <a:off x="7680296" y="315930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DE268728-7DAA-4004-AD46-966C4A4547D3}"/>
              </a:ext>
            </a:extLst>
          </p:cNvPr>
          <p:cNvSpPr/>
          <p:nvPr userDrawn="1"/>
        </p:nvSpPr>
        <p:spPr bwMode="auto">
          <a:xfrm>
            <a:off x="4447302" y="3393216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7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(Titre de paragraphe)</a:t>
            </a:r>
            <a:endParaRPr lang="fr-CA" sz="1200" b="1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0" name="ZoneTexte 46">
            <a:extLst>
              <a:ext uri="{FF2B5EF4-FFF2-40B4-BE49-F238E27FC236}">
                <a16:creationId xmlns:a16="http://schemas.microsoft.com/office/drawing/2014/main" id="{EAD31CB7-1FC0-4D2D-A4BE-BAF825EF1C5D}"/>
              </a:ext>
            </a:extLst>
          </p:cNvPr>
          <p:cNvSpPr txBox="1"/>
          <p:nvPr userDrawn="1"/>
        </p:nvSpPr>
        <p:spPr>
          <a:xfrm>
            <a:off x="6456160" y="339322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4</a:t>
            </a:r>
          </a:p>
        </p:txBody>
      </p:sp>
      <p:sp>
        <p:nvSpPr>
          <p:cNvPr id="91" name="ZoneTexte 47">
            <a:extLst>
              <a:ext uri="{FF2B5EF4-FFF2-40B4-BE49-F238E27FC236}">
                <a16:creationId xmlns:a16="http://schemas.microsoft.com/office/drawing/2014/main" id="{AC3CC9A5-C16B-41B2-A1E5-B8A1AB55F270}"/>
              </a:ext>
            </a:extLst>
          </p:cNvPr>
          <p:cNvSpPr txBox="1"/>
          <p:nvPr userDrawn="1"/>
        </p:nvSpPr>
        <p:spPr>
          <a:xfrm>
            <a:off x="7680296" y="3393223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527E56A6-B8B3-4D6D-A299-AEEFD2A2DA06}"/>
              </a:ext>
            </a:extLst>
          </p:cNvPr>
          <p:cNvSpPr/>
          <p:nvPr userDrawn="1"/>
        </p:nvSpPr>
        <p:spPr bwMode="auto">
          <a:xfrm>
            <a:off x="4447302" y="3627130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8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(2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option sans puce)</a:t>
            </a:r>
            <a:endParaRPr lang="fr-CA" sz="1200" b="1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3" name="ZoneTexte 50">
            <a:extLst>
              <a:ext uri="{FF2B5EF4-FFF2-40B4-BE49-F238E27FC236}">
                <a16:creationId xmlns:a16="http://schemas.microsoft.com/office/drawing/2014/main" id="{8A47A8F3-8A78-4ECB-8E17-22D3E6C90659}"/>
              </a:ext>
            </a:extLst>
          </p:cNvPr>
          <p:cNvSpPr txBox="1"/>
          <p:nvPr userDrawn="1"/>
        </p:nvSpPr>
        <p:spPr>
          <a:xfrm>
            <a:off x="6456160" y="362713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</a:t>
            </a:r>
          </a:p>
        </p:txBody>
      </p:sp>
      <p:sp>
        <p:nvSpPr>
          <p:cNvPr id="94" name="ZoneTexte 51">
            <a:extLst>
              <a:ext uri="{FF2B5EF4-FFF2-40B4-BE49-F238E27FC236}">
                <a16:creationId xmlns:a16="http://schemas.microsoft.com/office/drawing/2014/main" id="{A96F1EFD-DC5D-4649-89CF-A77A02FF5336}"/>
              </a:ext>
            </a:extLst>
          </p:cNvPr>
          <p:cNvSpPr txBox="1"/>
          <p:nvPr userDrawn="1"/>
        </p:nvSpPr>
        <p:spPr>
          <a:xfrm>
            <a:off x="7680296" y="3627138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8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DE1661AE-75BC-485D-8B7D-CFDADD8D6A92}"/>
              </a:ext>
            </a:extLst>
          </p:cNvPr>
          <p:cNvSpPr/>
          <p:nvPr userDrawn="1"/>
        </p:nvSpPr>
        <p:spPr bwMode="auto">
          <a:xfrm>
            <a:off x="4447302" y="3861048"/>
            <a:ext cx="1872205" cy="21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rot="0" spcFirstLastPara="0" vertOverflow="overflow" horzOverflow="overflow" vert="horz" wrap="square" lIns="72000" tIns="108000" rIns="72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</a:pPr>
            <a:r>
              <a:rPr lang="fr-CA" sz="1200" b="1" noProof="0">
                <a:solidFill>
                  <a:schemeClr val="bg1"/>
                </a:solidFill>
                <a:latin typeface="+mn-lt"/>
              </a:rPr>
              <a:t>9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(Identique au 3</a:t>
            </a:r>
            <a:r>
              <a:rPr lang="fr-CA" sz="1200" b="1" baseline="30000" noProof="0">
                <a:solidFill>
                  <a:schemeClr val="bg1"/>
                </a:solidFill>
                <a:latin typeface="+mn-lt"/>
              </a:rPr>
              <a:t>e</a:t>
            </a:r>
            <a:r>
              <a:rPr lang="fr-CA" sz="1200" b="1" baseline="0" noProof="0">
                <a:solidFill>
                  <a:schemeClr val="bg1"/>
                </a:solidFill>
                <a:latin typeface="+mn-lt"/>
              </a:rPr>
              <a:t> niveau)</a:t>
            </a:r>
            <a:endParaRPr lang="fr-CA" sz="1200" b="1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6" name="ZoneTexte 53">
            <a:extLst>
              <a:ext uri="{FF2B5EF4-FFF2-40B4-BE49-F238E27FC236}">
                <a16:creationId xmlns:a16="http://schemas.microsoft.com/office/drawing/2014/main" id="{9628B3EA-A961-4793-826E-88654127D216}"/>
              </a:ext>
            </a:extLst>
          </p:cNvPr>
          <p:cNvSpPr txBox="1"/>
          <p:nvPr userDrawn="1"/>
        </p:nvSpPr>
        <p:spPr>
          <a:xfrm>
            <a:off x="6456160" y="3861052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tIns="0" rIns="432000" bIns="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8</a:t>
            </a:r>
          </a:p>
        </p:txBody>
      </p:sp>
      <p:sp>
        <p:nvSpPr>
          <p:cNvPr id="97" name="ZoneTexte 54">
            <a:extLst>
              <a:ext uri="{FF2B5EF4-FFF2-40B4-BE49-F238E27FC236}">
                <a16:creationId xmlns:a16="http://schemas.microsoft.com/office/drawing/2014/main" id="{08096F28-196D-4DDE-B8DA-8F5DC5F1F9E8}"/>
              </a:ext>
            </a:extLst>
          </p:cNvPr>
          <p:cNvSpPr txBox="1"/>
          <p:nvPr userDrawn="1"/>
        </p:nvSpPr>
        <p:spPr>
          <a:xfrm>
            <a:off x="7680296" y="3861052"/>
            <a:ext cx="1080000" cy="216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252000" tIns="118800" rIns="432000" bIns="126000" rtlCol="0" anchor="ctr" anchorCtr="0">
            <a:no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accent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CA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55291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tils de vérification de page pCH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81BBC439-43EE-46FE-BFE0-A8936FFA93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3456929"/>
              </p:ext>
            </p:extLst>
          </p:nvPr>
        </p:nvGraphicFramePr>
        <p:xfrm>
          <a:off x="2505838" y="2579231"/>
          <a:ext cx="9275344" cy="3888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692843">
                  <a:extLst>
                    <a:ext uri="{9D8B030D-6E8A-4147-A177-3AD203B41FA5}">
                      <a16:colId xmlns:a16="http://schemas.microsoft.com/office/drawing/2014/main" val="3205415789"/>
                    </a:ext>
                  </a:extLst>
                </a:gridCol>
                <a:gridCol w="8582501">
                  <a:extLst>
                    <a:ext uri="{9D8B030D-6E8A-4147-A177-3AD203B41FA5}">
                      <a16:colId xmlns:a16="http://schemas.microsoft.com/office/drawing/2014/main" val="2324330360"/>
                    </a:ext>
                  </a:extLst>
                </a:gridCol>
              </a:tblGrid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Simplicité :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Pouvez-vous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enlever de l’information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sans diluer vos points importants? </a:t>
                      </a:r>
                      <a:b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Ou faire 2 pages avec une?</a:t>
                      </a:r>
                    </a:p>
                  </a:txBody>
                  <a:tcPr marL="144000" marR="144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998111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Chunking : </a:t>
                      </a: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Avez-vous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regroupé visuellement </a:t>
                      </a: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les informations qui ont un lien entre elles?</a:t>
                      </a:r>
                      <a:endParaRPr lang="fr-CA" sz="1600" noProof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144000" marR="144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61377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Mise en page :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La disposition de votre page est-elle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intuitive,</a:t>
                      </a: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soit par ses blocs verticaux </a:t>
                      </a:r>
                      <a:b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ou horizontaux, ou son optimisation gauche/droite?</a:t>
                      </a:r>
                      <a:endParaRPr lang="fr-CA" sz="1600" noProof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144000" marR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53431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Contraste et hiérarchie :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Utilisez-vous la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taille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, la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couleur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, la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forme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et les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styles de police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pour créer du contraste et une hiérarchie? </a:t>
                      </a:r>
                    </a:p>
                  </a:txBody>
                  <a:tcPr marL="144000" marR="144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33391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9 éléments : </a:t>
                      </a: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Appliquez-vous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les meilleures pratiques de PrezExpert</a:t>
                      </a: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pour utiliser efficacement les 9 éléments? </a:t>
                      </a:r>
                      <a:endParaRPr lang="fr-CA" sz="1600" b="1" noProof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144000" marR="144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632058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Espaces vides :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Avez-vous assez d’espaces vides, répartis uniformément, </a:t>
                      </a:r>
                      <a:b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pour que votre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page respire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?</a:t>
                      </a:r>
                    </a:p>
                  </a:txBody>
                  <a:tcPr marL="144000" marR="144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161211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8217927-67EE-47BF-A77F-2A9F798839EF}"/>
              </a:ext>
            </a:extLst>
          </p:cNvPr>
          <p:cNvSpPr/>
          <p:nvPr/>
        </p:nvSpPr>
        <p:spPr bwMode="auto">
          <a:xfrm>
            <a:off x="439900" y="1139071"/>
            <a:ext cx="1964882" cy="64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square" lIns="108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/>
              </a:rPr>
              <a:t>Page nécessaire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C0CE9B-6880-4010-94E3-FE239B8375D9}"/>
              </a:ext>
            </a:extLst>
          </p:cNvPr>
          <p:cNvSpPr/>
          <p:nvPr/>
        </p:nvSpPr>
        <p:spPr>
          <a:xfrm>
            <a:off x="3202640" y="1139071"/>
            <a:ext cx="8578541" cy="64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44000" rIns="144000" anchor="ctr">
            <a:noAutofit/>
          </a:bodyPr>
          <a:lstStyle/>
          <a:p>
            <a:pPr>
              <a:spcBef>
                <a:spcPts val="600"/>
              </a:spcBef>
              <a:buClr>
                <a:srgbClr val="00225B"/>
              </a:buClr>
              <a:buSzPct val="85000"/>
            </a:pPr>
            <a:r>
              <a:rPr lang="fr-CA" sz="1600" b="1">
                <a:solidFill>
                  <a:schemeClr val="tx1"/>
                </a:solidFill>
                <a:latin typeface="+mn-lt"/>
                <a:cs typeface="Arial"/>
              </a:rPr>
              <a:t>Pourriez-vous éliminer ou fusionner cette page </a:t>
            </a:r>
            <a:r>
              <a:rPr lang="fr-CA" sz="1600">
                <a:solidFill>
                  <a:schemeClr val="tx1"/>
                </a:solidFill>
                <a:latin typeface="+mn-lt"/>
                <a:cs typeface="Arial"/>
              </a:rPr>
              <a:t>avec une autre sans impacter </a:t>
            </a:r>
            <a:br>
              <a:rPr lang="fr-CA" sz="1600">
                <a:solidFill>
                  <a:schemeClr val="tx1"/>
                </a:solidFill>
                <a:latin typeface="+mn-lt"/>
                <a:cs typeface="Arial"/>
              </a:rPr>
            </a:br>
            <a:r>
              <a:rPr lang="fr-CA" sz="1600">
                <a:solidFill>
                  <a:schemeClr val="tx1"/>
                </a:solidFill>
                <a:latin typeface="+mn-lt"/>
                <a:cs typeface="Arial"/>
              </a:rPr>
              <a:t>le fil conducteur de votre histoire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A731B-06E3-42ED-B2C1-6F7DC32C9130}"/>
              </a:ext>
            </a:extLst>
          </p:cNvPr>
          <p:cNvSpPr/>
          <p:nvPr/>
        </p:nvSpPr>
        <p:spPr bwMode="auto">
          <a:xfrm>
            <a:off x="435771" y="404664"/>
            <a:ext cx="11345411" cy="64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108000" tIns="45720" rIns="108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CA" sz="3200" b="1">
                <a:solidFill>
                  <a:schemeClr val="bg1"/>
                </a:solidFill>
                <a:latin typeface="+mn-lt"/>
                <a:ea typeface="Arial" charset="0"/>
                <a:cs typeface="Arial"/>
              </a:rPr>
              <a:t>Outil de vérification de page </a:t>
            </a:r>
            <a:r>
              <a:rPr lang="fr-CA" sz="3200" b="1" i="1">
                <a:solidFill>
                  <a:srgbClr val="FFFFFF"/>
                </a:solidFill>
                <a:latin typeface="+mn-lt"/>
                <a:ea typeface="Arial" charset="0"/>
              </a:rPr>
              <a:t>pCHECK</a:t>
            </a:r>
            <a:r>
              <a:rPr lang="fr-CA" sz="1050" b="1" i="1">
                <a:solidFill>
                  <a:srgbClr val="FFFFFF"/>
                </a:solidFill>
                <a:latin typeface="+mn-lt"/>
                <a:ea typeface="Arial" charset="0"/>
              </a:rPr>
              <a:t> </a:t>
            </a:r>
            <a:r>
              <a:rPr lang="fr-CA" sz="1600" baseline="85000">
                <a:solidFill>
                  <a:srgbClr val="FFFFFF"/>
                </a:solidFill>
                <a:latin typeface="+mn-lt"/>
                <a:ea typeface="Arial" charset="0"/>
              </a:rPr>
              <a:t>MD</a:t>
            </a:r>
            <a:endParaRPr lang="fr-CA" sz="1200" baseline="85000">
              <a:solidFill>
                <a:srgbClr val="FFFFFF"/>
              </a:solidFill>
              <a:latin typeface="+mn-lt"/>
              <a:ea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01AA33D-DE2E-4BC5-A572-EE797C2EA7C1}"/>
              </a:ext>
            </a:extLst>
          </p:cNvPr>
          <p:cNvSpPr/>
          <p:nvPr/>
        </p:nvSpPr>
        <p:spPr bwMode="auto">
          <a:xfrm>
            <a:off x="439900" y="1859151"/>
            <a:ext cx="1964882" cy="64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square" lIns="108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/>
              </a:rPr>
              <a:t>Manchet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3E28376-6425-44E8-9526-882B14DC029B}"/>
              </a:ext>
            </a:extLst>
          </p:cNvPr>
          <p:cNvSpPr/>
          <p:nvPr/>
        </p:nvSpPr>
        <p:spPr>
          <a:xfrm>
            <a:off x="3202640" y="1859151"/>
            <a:ext cx="8578541" cy="64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44000" rIns="144000" anchor="ctr">
            <a:noAutofit/>
          </a:bodyPr>
          <a:lstStyle/>
          <a:p>
            <a:pPr>
              <a:spcBef>
                <a:spcPts val="600"/>
              </a:spcBef>
              <a:buClr>
                <a:srgbClr val="00225B"/>
              </a:buClr>
              <a:buSzPct val="85000"/>
            </a:pPr>
            <a:r>
              <a:rPr lang="fr-CA" sz="1600" b="1">
                <a:solidFill>
                  <a:schemeClr val="tx1"/>
                </a:solidFill>
                <a:latin typeface="+mn-lt"/>
                <a:cs typeface="Arial"/>
              </a:rPr>
              <a:t>Avez-vous utilisé une </a:t>
            </a:r>
            <a:r>
              <a:rPr lang="fr-CA" sz="1600" b="1" i="1">
                <a:solidFill>
                  <a:schemeClr val="tx1"/>
                </a:solidFill>
                <a:latin typeface="+mn-lt"/>
                <a:cs typeface="Arial"/>
              </a:rPr>
              <a:t>manchette</a:t>
            </a:r>
            <a:r>
              <a:rPr lang="fr-CA" sz="1600" b="1">
                <a:solidFill>
                  <a:schemeClr val="tx1"/>
                </a:solidFill>
                <a:latin typeface="+mn-lt"/>
                <a:cs typeface="Arial"/>
              </a:rPr>
              <a:t> </a:t>
            </a:r>
            <a:r>
              <a:rPr lang="fr-CA" sz="1600">
                <a:solidFill>
                  <a:schemeClr val="tx1"/>
                </a:solidFill>
                <a:latin typeface="+mn-lt"/>
                <a:cs typeface="Arial"/>
              </a:rPr>
              <a:t>(possiblement avec une boîte de message) pour communiquer le message clé de votre page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DF43185-078D-4728-A338-8BAED70F5151}"/>
              </a:ext>
            </a:extLst>
          </p:cNvPr>
          <p:cNvSpPr/>
          <p:nvPr/>
        </p:nvSpPr>
        <p:spPr bwMode="auto">
          <a:xfrm>
            <a:off x="439900" y="2579232"/>
            <a:ext cx="1964882" cy="388799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square" lIns="108000" tIns="72000" rIns="3600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CA" sz="1600" b="1">
                <a:solidFill>
                  <a:schemeClr val="tx1"/>
                </a:solidFill>
                <a:latin typeface="+mn-lt"/>
                <a:cs typeface="Arial"/>
              </a:rPr>
              <a:t>Optimisation du corps de la pag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40BD5F-7AA5-4910-B4F7-4FF9023D045B}"/>
              </a:ext>
            </a:extLst>
          </p:cNvPr>
          <p:cNvSpPr/>
          <p:nvPr/>
        </p:nvSpPr>
        <p:spPr bwMode="auto">
          <a:xfrm>
            <a:off x="2505838" y="1859151"/>
            <a:ext cx="685597" cy="64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ＭＳ Ｐゴシック" charset="0"/>
              </a:rPr>
              <a:t>2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37E6837-20C6-4325-B22C-1F7E806EDD7B}"/>
              </a:ext>
            </a:extLst>
          </p:cNvPr>
          <p:cNvSpPr/>
          <p:nvPr/>
        </p:nvSpPr>
        <p:spPr bwMode="auto">
          <a:xfrm>
            <a:off x="2505838" y="1139071"/>
            <a:ext cx="685597" cy="64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ＭＳ Ｐゴシック" charset="0"/>
              </a:rPr>
              <a:t>1</a:t>
            </a:r>
          </a:p>
        </p:txBody>
      </p:sp>
      <p:sp>
        <p:nvSpPr>
          <p:cNvPr id="15" name="Text Box 25">
            <a:extLst>
              <a:ext uri="{FF2B5EF4-FFF2-40B4-BE49-F238E27FC236}">
                <a16:creationId xmlns:a16="http://schemas.microsoft.com/office/drawing/2014/main" id="{23685042-31F4-489D-BB6F-D6E37EFB57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4472" y="6541313"/>
            <a:ext cx="11114136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r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>
              <a:defRPr/>
            </a:pPr>
            <a:r>
              <a:rPr lang="fr-CA" sz="800" b="0">
                <a:solidFill>
                  <a:schemeClr val="accent5"/>
                </a:solidFill>
                <a:latin typeface="+mn-lt"/>
                <a:cs typeface="Arial" charset="0"/>
              </a:rPr>
              <a:t>© PREZEXPERT INTL Inc., 2014, modifié en 2015-2021.  Tous droits réservés.         </a:t>
            </a:r>
            <a:r>
              <a:rPr lang="fr-CA" altLang="fr-FR" sz="800" b="0">
                <a:solidFill>
                  <a:schemeClr val="accent5"/>
                </a:solidFill>
                <a:latin typeface="+mn-lt"/>
                <a:cs typeface="Arial" pitchFamily="34" charset="0"/>
              </a:rPr>
              <a:t>Toute reproduction, modification ou utilisation sans l’autorisation du titulaire des droits d’auteur est interdite.</a:t>
            </a:r>
            <a:r>
              <a:rPr lang="fr-CA" sz="800" b="0">
                <a:solidFill>
                  <a:schemeClr val="accent5"/>
                </a:solidFill>
                <a:latin typeface="+mn-lt"/>
                <a:cs typeface="Arial" charset="0"/>
              </a:rPr>
              <a:t>         </a:t>
            </a:r>
            <a:r>
              <a:rPr lang="fr-CA" altLang="fr-FR" sz="800" b="0">
                <a:solidFill>
                  <a:schemeClr val="accent5"/>
                </a:solidFill>
                <a:latin typeface="+mn-lt"/>
                <a:cs typeface="Arial" pitchFamily="34" charset="0"/>
              </a:rPr>
              <a:t>www.</a:t>
            </a:r>
            <a:r>
              <a:rPr lang="fr-CA" sz="800" b="0" baseline="0">
                <a:solidFill>
                  <a:schemeClr val="accent5"/>
                </a:solidFill>
                <a:latin typeface="+mn-lt"/>
                <a:cs typeface="Arial" charset="0"/>
              </a:rPr>
              <a:t>prezexpert.com</a:t>
            </a:r>
            <a:endParaRPr lang="fr-CA" sz="800" b="0">
              <a:solidFill>
                <a:schemeClr val="accent5"/>
              </a:solidFill>
              <a:latin typeface="+mn-lt"/>
              <a:cs typeface="Arial" charset="0"/>
            </a:endParaRPr>
          </a:p>
        </p:txBody>
      </p:sp>
      <p:pic>
        <p:nvPicPr>
          <p:cNvPr id="22" name="Image 21" descr="Une image contenant texte&#10;&#10;Description générée automatiquement">
            <a:extLst>
              <a:ext uri="{FF2B5EF4-FFF2-40B4-BE49-F238E27FC236}">
                <a16:creationId xmlns:a16="http://schemas.microsoft.com/office/drawing/2014/main" id="{E8969EDC-D331-484B-AC28-5AB3D32046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6738" y="401057"/>
            <a:ext cx="2605886" cy="648000"/>
          </a:xfrm>
          <a:prstGeom prst="rect">
            <a:avLst/>
          </a:prstGeom>
        </p:spPr>
      </p:pic>
      <p:graphicFrame>
        <p:nvGraphicFramePr>
          <p:cNvPr id="16" name="Tableau 5">
            <a:extLst>
              <a:ext uri="{FF2B5EF4-FFF2-40B4-BE49-F238E27FC236}">
                <a16:creationId xmlns:a16="http://schemas.microsoft.com/office/drawing/2014/main" id="{2EB7A729-C18C-43AD-95B9-0DE83C8C753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822935261"/>
              </p:ext>
            </p:extLst>
          </p:nvPr>
        </p:nvGraphicFramePr>
        <p:xfrm>
          <a:off x="2505838" y="2579231"/>
          <a:ext cx="9275344" cy="3888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692843">
                  <a:extLst>
                    <a:ext uri="{9D8B030D-6E8A-4147-A177-3AD203B41FA5}">
                      <a16:colId xmlns:a16="http://schemas.microsoft.com/office/drawing/2014/main" val="3205415789"/>
                    </a:ext>
                  </a:extLst>
                </a:gridCol>
                <a:gridCol w="8582501">
                  <a:extLst>
                    <a:ext uri="{9D8B030D-6E8A-4147-A177-3AD203B41FA5}">
                      <a16:colId xmlns:a16="http://schemas.microsoft.com/office/drawing/2014/main" val="2324330360"/>
                    </a:ext>
                  </a:extLst>
                </a:gridCol>
              </a:tblGrid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Simplicité :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Pouvez-vous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enlever de l’information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sans diluer vos points importants? </a:t>
                      </a:r>
                      <a:b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Ou faire 2 pages avec une?</a:t>
                      </a:r>
                    </a:p>
                  </a:txBody>
                  <a:tcPr marL="144000" marR="144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998111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Chunking : </a:t>
                      </a: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Avez-vous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regroupé visuellement </a:t>
                      </a: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les informations qui ont un lien entre elles?</a:t>
                      </a:r>
                      <a:endParaRPr lang="fr-CA" sz="1600" noProof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144000" marR="144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61377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Mise en page :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La disposition de votre page est-elle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intuitive,</a:t>
                      </a: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soit par ses blocs verticaux </a:t>
                      </a:r>
                      <a:b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ou horizontaux, ou son optimisation gauche/droite?</a:t>
                      </a:r>
                      <a:endParaRPr lang="fr-CA" sz="1600" noProof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144000" marR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534314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Contraste et hiérarchie :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Utilisez-vous la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taille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, la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couleur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, la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forme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et les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styles de police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pour créer du contraste et une hiérarchie? </a:t>
                      </a:r>
                    </a:p>
                  </a:txBody>
                  <a:tcPr marL="144000" marR="144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333912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9 éléments : </a:t>
                      </a: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Appliquez-vous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les meilleures pratiques de PrezExpert</a:t>
                      </a:r>
                      <a:r>
                        <a:rPr lang="fr-CA" sz="1600" b="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pour utiliser efficacement les 9 éléments? </a:t>
                      </a:r>
                      <a:endParaRPr lang="fr-CA" sz="1600" b="1" noProof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144000" marR="144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1632058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fr-CA" sz="1600" b="1" noProof="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Espaces vides : 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Avez-vous assez d’espaces vides, répartis uniformément, </a:t>
                      </a:r>
                      <a:b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</a:b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pour que votre </a:t>
                      </a:r>
                      <a:r>
                        <a:rPr lang="fr-CA" sz="1600" b="1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page respire</a:t>
                      </a:r>
                      <a:r>
                        <a:rPr lang="fr-CA" sz="1600" noProof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?</a:t>
                      </a:r>
                    </a:p>
                  </a:txBody>
                  <a:tcPr marL="144000" marR="144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161211"/>
                  </a:ext>
                </a:extLst>
              </a:tr>
            </a:tbl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6E41DA84-436F-48FA-9EFD-E8D6848B85AE}"/>
              </a:ext>
            </a:extLst>
          </p:cNvPr>
          <p:cNvSpPr/>
          <p:nvPr userDrawn="1"/>
        </p:nvSpPr>
        <p:spPr bwMode="auto">
          <a:xfrm>
            <a:off x="439900" y="1139071"/>
            <a:ext cx="1964882" cy="64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square" lIns="108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/>
              </a:rPr>
              <a:t>Page nécessaire?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F6BBCD6-7321-4F63-9B31-24AA4C2BFE9B}"/>
              </a:ext>
            </a:extLst>
          </p:cNvPr>
          <p:cNvSpPr/>
          <p:nvPr userDrawn="1"/>
        </p:nvSpPr>
        <p:spPr>
          <a:xfrm>
            <a:off x="3202640" y="1139071"/>
            <a:ext cx="8578541" cy="64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44000" rIns="144000" anchor="ctr">
            <a:noAutofit/>
          </a:bodyPr>
          <a:lstStyle/>
          <a:p>
            <a:pPr>
              <a:spcBef>
                <a:spcPts val="600"/>
              </a:spcBef>
              <a:buClr>
                <a:srgbClr val="00225B"/>
              </a:buClr>
              <a:buSzPct val="85000"/>
            </a:pPr>
            <a:r>
              <a:rPr lang="fr-CA" sz="1600" b="1">
                <a:solidFill>
                  <a:schemeClr val="tx1"/>
                </a:solidFill>
                <a:latin typeface="+mn-lt"/>
                <a:cs typeface="Arial"/>
              </a:rPr>
              <a:t>Pourriez-vous éliminer ou fusionner cette page </a:t>
            </a:r>
            <a:r>
              <a:rPr lang="fr-CA" sz="1600">
                <a:solidFill>
                  <a:schemeClr val="tx1"/>
                </a:solidFill>
                <a:latin typeface="+mn-lt"/>
                <a:cs typeface="Arial"/>
              </a:rPr>
              <a:t>avec une autre sans impacter </a:t>
            </a:r>
            <a:br>
              <a:rPr lang="fr-CA" sz="1600">
                <a:solidFill>
                  <a:schemeClr val="tx1"/>
                </a:solidFill>
                <a:latin typeface="+mn-lt"/>
                <a:cs typeface="Arial"/>
              </a:rPr>
            </a:br>
            <a:r>
              <a:rPr lang="fr-CA" sz="1600">
                <a:solidFill>
                  <a:schemeClr val="tx1"/>
                </a:solidFill>
                <a:latin typeface="+mn-lt"/>
                <a:cs typeface="Arial"/>
              </a:rPr>
              <a:t>le fil conducteur de votre histoire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D9518A-DB60-494A-9039-2BF3D01DED8C}"/>
              </a:ext>
            </a:extLst>
          </p:cNvPr>
          <p:cNvSpPr/>
          <p:nvPr userDrawn="1"/>
        </p:nvSpPr>
        <p:spPr bwMode="auto">
          <a:xfrm>
            <a:off x="435771" y="404664"/>
            <a:ext cx="11345411" cy="64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108000" tIns="45720" rIns="108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CA" sz="3200" b="1">
                <a:solidFill>
                  <a:schemeClr val="bg1"/>
                </a:solidFill>
                <a:latin typeface="+mn-lt"/>
                <a:ea typeface="Arial" charset="0"/>
                <a:cs typeface="Arial"/>
              </a:rPr>
              <a:t>Outil de vérification de page </a:t>
            </a:r>
            <a:r>
              <a:rPr lang="fr-CA" sz="3200" b="1" i="1">
                <a:solidFill>
                  <a:srgbClr val="FFFFFF"/>
                </a:solidFill>
                <a:latin typeface="+mn-lt"/>
                <a:ea typeface="Arial" charset="0"/>
              </a:rPr>
              <a:t>pCHECK</a:t>
            </a:r>
            <a:r>
              <a:rPr lang="fr-CA" sz="1050" b="1" i="1">
                <a:solidFill>
                  <a:srgbClr val="FFFFFF"/>
                </a:solidFill>
                <a:latin typeface="+mn-lt"/>
                <a:ea typeface="Arial" charset="0"/>
              </a:rPr>
              <a:t> </a:t>
            </a:r>
            <a:r>
              <a:rPr lang="fr-CA" sz="1600" baseline="85000">
                <a:solidFill>
                  <a:srgbClr val="FFFFFF"/>
                </a:solidFill>
                <a:latin typeface="+mn-lt"/>
                <a:ea typeface="Arial" charset="0"/>
              </a:rPr>
              <a:t>MD</a:t>
            </a:r>
            <a:endParaRPr lang="fr-CA" sz="1200" baseline="85000">
              <a:solidFill>
                <a:srgbClr val="FFFFFF"/>
              </a:solidFill>
              <a:latin typeface="+mn-lt"/>
              <a:ea typeface="Arial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96CED96-65F9-4E58-B75C-A65CC48DC130}"/>
              </a:ext>
            </a:extLst>
          </p:cNvPr>
          <p:cNvSpPr/>
          <p:nvPr userDrawn="1"/>
        </p:nvSpPr>
        <p:spPr bwMode="auto">
          <a:xfrm>
            <a:off x="439900" y="1859151"/>
            <a:ext cx="1964882" cy="64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square" lIns="108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fr-CA" sz="1600" b="1">
                <a:solidFill>
                  <a:schemeClr val="tx1"/>
                </a:solidFill>
                <a:latin typeface="+mn-lt"/>
                <a:ea typeface="Arial" charset="0"/>
                <a:cs typeface="Arial"/>
              </a:rPr>
              <a:t>Manchett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AC4C1E3-8BE4-40F9-B0B7-E71EB120D93A}"/>
              </a:ext>
            </a:extLst>
          </p:cNvPr>
          <p:cNvSpPr/>
          <p:nvPr userDrawn="1"/>
        </p:nvSpPr>
        <p:spPr>
          <a:xfrm>
            <a:off x="3202640" y="1859151"/>
            <a:ext cx="8578541" cy="64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44000" rIns="144000" anchor="ctr">
            <a:noAutofit/>
          </a:bodyPr>
          <a:lstStyle/>
          <a:p>
            <a:pPr>
              <a:spcBef>
                <a:spcPts val="600"/>
              </a:spcBef>
              <a:buClr>
                <a:srgbClr val="00225B"/>
              </a:buClr>
              <a:buSzPct val="85000"/>
            </a:pPr>
            <a:r>
              <a:rPr lang="fr-CA" sz="1600" b="1">
                <a:solidFill>
                  <a:schemeClr val="tx1"/>
                </a:solidFill>
                <a:latin typeface="+mn-lt"/>
                <a:cs typeface="Arial"/>
              </a:rPr>
              <a:t>Avez-vous utilisé une </a:t>
            </a:r>
            <a:r>
              <a:rPr lang="fr-CA" sz="1600" b="1" i="1">
                <a:solidFill>
                  <a:schemeClr val="tx1"/>
                </a:solidFill>
                <a:latin typeface="+mn-lt"/>
                <a:cs typeface="Arial"/>
              </a:rPr>
              <a:t>manchette</a:t>
            </a:r>
            <a:r>
              <a:rPr lang="fr-CA" sz="1600" b="1">
                <a:solidFill>
                  <a:schemeClr val="tx1"/>
                </a:solidFill>
                <a:latin typeface="+mn-lt"/>
                <a:cs typeface="Arial"/>
              </a:rPr>
              <a:t> </a:t>
            </a:r>
            <a:r>
              <a:rPr lang="fr-CA" sz="1600">
                <a:solidFill>
                  <a:schemeClr val="tx1"/>
                </a:solidFill>
                <a:latin typeface="+mn-lt"/>
                <a:cs typeface="Arial"/>
              </a:rPr>
              <a:t>(possiblement avec une boîte de message) pour communiquer le message clé de votre page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3A23BAF-172B-403F-86E4-3FDA91D76BD4}"/>
              </a:ext>
            </a:extLst>
          </p:cNvPr>
          <p:cNvSpPr/>
          <p:nvPr userDrawn="1"/>
        </p:nvSpPr>
        <p:spPr bwMode="auto">
          <a:xfrm>
            <a:off x="439900" y="2579232"/>
            <a:ext cx="1964882" cy="388799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square" lIns="108000" tIns="72000" rIns="3600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CA" sz="1600" b="1">
                <a:solidFill>
                  <a:schemeClr val="tx1"/>
                </a:solidFill>
                <a:latin typeface="+mn-lt"/>
                <a:cs typeface="Arial"/>
              </a:rPr>
              <a:t>Optimisation du corps de la pag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4A81E75-9DB5-4C3C-9810-27620A649953}"/>
              </a:ext>
            </a:extLst>
          </p:cNvPr>
          <p:cNvSpPr/>
          <p:nvPr userDrawn="1"/>
        </p:nvSpPr>
        <p:spPr bwMode="auto">
          <a:xfrm>
            <a:off x="2505838" y="1859151"/>
            <a:ext cx="685597" cy="64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ＭＳ Ｐゴシック" charset="0"/>
              </a:rPr>
              <a:t>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6D8250F-8757-4FA9-AC45-4AF7110D95DC}"/>
              </a:ext>
            </a:extLst>
          </p:cNvPr>
          <p:cNvSpPr/>
          <p:nvPr userDrawn="1"/>
        </p:nvSpPr>
        <p:spPr bwMode="auto">
          <a:xfrm>
            <a:off x="2505838" y="1139071"/>
            <a:ext cx="685597" cy="64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CA" sz="16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ＭＳ Ｐゴシック" charset="0"/>
              </a:rPr>
              <a:t>1</a:t>
            </a:r>
          </a:p>
        </p:txBody>
      </p:sp>
      <p:sp>
        <p:nvSpPr>
          <p:cNvPr id="26" name="Text Box 25">
            <a:extLst>
              <a:ext uri="{FF2B5EF4-FFF2-40B4-BE49-F238E27FC236}">
                <a16:creationId xmlns:a16="http://schemas.microsoft.com/office/drawing/2014/main" id="{9F57EDCD-B222-47D6-9905-DB29FEB26AF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4472" y="6541313"/>
            <a:ext cx="11114136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r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>
              <a:defRPr/>
            </a:pPr>
            <a:r>
              <a:rPr lang="fr-CA" sz="800" b="0">
                <a:solidFill>
                  <a:schemeClr val="accent5"/>
                </a:solidFill>
                <a:latin typeface="+mn-lt"/>
                <a:cs typeface="Arial" charset="0"/>
              </a:rPr>
              <a:t>© PREZEXPERT INTL Inc., 2014, modifié en 2015-2021.  Tous droits réservés.         </a:t>
            </a:r>
            <a:r>
              <a:rPr lang="fr-CA" altLang="fr-FR" sz="800" b="0">
                <a:solidFill>
                  <a:schemeClr val="accent5"/>
                </a:solidFill>
                <a:latin typeface="+mn-lt"/>
                <a:cs typeface="Arial" pitchFamily="34" charset="0"/>
              </a:rPr>
              <a:t>Toute reproduction, modification ou utilisation sans l’autorisation du titulaire des droits d’auteur est interdite.</a:t>
            </a:r>
            <a:r>
              <a:rPr lang="fr-CA" sz="800" b="0">
                <a:solidFill>
                  <a:schemeClr val="accent5"/>
                </a:solidFill>
                <a:latin typeface="+mn-lt"/>
                <a:cs typeface="Arial" charset="0"/>
              </a:rPr>
              <a:t>         </a:t>
            </a:r>
            <a:r>
              <a:rPr lang="fr-CA" altLang="fr-FR" sz="800" b="0">
                <a:solidFill>
                  <a:schemeClr val="accent5"/>
                </a:solidFill>
                <a:latin typeface="+mn-lt"/>
                <a:cs typeface="Arial" pitchFamily="34" charset="0"/>
              </a:rPr>
              <a:t>www.</a:t>
            </a:r>
            <a:r>
              <a:rPr lang="fr-CA" sz="800" b="0" baseline="0">
                <a:solidFill>
                  <a:schemeClr val="accent5"/>
                </a:solidFill>
                <a:latin typeface="+mn-lt"/>
                <a:cs typeface="Arial" charset="0"/>
              </a:rPr>
              <a:t>prezexpert.com</a:t>
            </a:r>
            <a:endParaRPr lang="fr-CA" sz="800" b="0">
              <a:solidFill>
                <a:schemeClr val="accent5"/>
              </a:solidFill>
              <a:latin typeface="+mn-lt"/>
              <a:cs typeface="Arial" charset="0"/>
            </a:endParaRPr>
          </a:p>
        </p:txBody>
      </p:sp>
      <p:pic>
        <p:nvPicPr>
          <p:cNvPr id="27" name="Image 21" descr="Une image contenant texte&#10;&#10;Description générée automatiquement">
            <a:extLst>
              <a:ext uri="{FF2B5EF4-FFF2-40B4-BE49-F238E27FC236}">
                <a16:creationId xmlns:a16="http://schemas.microsoft.com/office/drawing/2014/main" id="{448067BE-DF59-47F3-9BAB-1FFA2B9DC3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6738" y="401057"/>
            <a:ext cx="2605886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76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ertissem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oneTexte 7">
            <a:extLst>
              <a:ext uri="{FF2B5EF4-FFF2-40B4-BE49-F238E27FC236}">
                <a16:creationId xmlns:a16="http://schemas.microsoft.com/office/drawing/2014/main" id="{6EB5E8FF-5078-489E-B874-25D4FFBB4221}"/>
              </a:ext>
            </a:extLst>
          </p:cNvPr>
          <p:cNvSpPr txBox="1"/>
          <p:nvPr/>
        </p:nvSpPr>
        <p:spPr>
          <a:xfrm>
            <a:off x="479376" y="920621"/>
            <a:ext cx="11233248" cy="501675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spcBef>
                <a:spcPts val="1400"/>
              </a:spcBef>
            </a:pPr>
            <a:r>
              <a:rPr lang="fr-CA" sz="8000" b="1">
                <a:solidFill>
                  <a:schemeClr val="bg1"/>
                </a:solidFill>
              </a:rPr>
              <a:t>N’utilisez aucune </a:t>
            </a:r>
            <a:br>
              <a:rPr lang="fr-CA" sz="8000" b="1">
                <a:solidFill>
                  <a:schemeClr val="bg1"/>
                </a:solidFill>
              </a:rPr>
            </a:br>
            <a:r>
              <a:rPr lang="fr-CA" sz="8000" b="1">
                <a:solidFill>
                  <a:schemeClr val="bg1"/>
                </a:solidFill>
              </a:rPr>
              <a:t>des dispositions de page qui pourraient apparaître après celle-ci</a:t>
            </a:r>
          </a:p>
        </p:txBody>
      </p:sp>
    </p:spTree>
    <p:extLst>
      <p:ext uri="{BB962C8B-B14F-4D97-AF65-F5344CB8AC3E}">
        <p14:creationId xmlns:p14="http://schemas.microsoft.com/office/powerpoint/2010/main" val="16470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4FFB99ED-51AA-481F-9B5C-C0A5886F1D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A800A80F-CA27-463C-A1CF-7AEECE9FB5B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1143000"/>
            <a:ext cx="4630688" cy="2448272"/>
          </a:xfrm>
        </p:spPr>
        <p:txBody>
          <a:bodyPr tIns="0" anchor="b">
            <a:normAutofit/>
          </a:bodyPr>
          <a:lstStyle>
            <a:lvl1pPr algn="l">
              <a:lnSpc>
                <a:spcPct val="80000"/>
              </a:lnSpc>
              <a:defRPr sz="6000" spc="0">
                <a:solidFill>
                  <a:schemeClr val="accent1"/>
                </a:solidFill>
              </a:defRPr>
            </a:lvl1pPr>
          </a:lstStyle>
          <a:p>
            <a:r>
              <a:rPr lang="en-CA"/>
              <a:t>Presentation titl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E7F1344-69AA-41D5-BC4B-0D9DCAE3E8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3733800"/>
            <a:ext cx="4630688" cy="9360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CA"/>
              <a:t>Subtitl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B2420256-DED8-4E9C-A90F-015AC58976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5274600"/>
            <a:ext cx="4630688" cy="28800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None/>
              <a:defRPr sz="1400"/>
            </a:lvl1pPr>
            <a:lvl2pPr marL="230400" indent="0">
              <a:buNone/>
              <a:defRPr/>
            </a:lvl2pPr>
            <a:lvl3pPr marL="439200" indent="0">
              <a:buNone/>
              <a:defRPr/>
            </a:lvl3pPr>
            <a:lvl4pPr marL="622800" indent="0">
              <a:buNone/>
              <a:defRPr/>
            </a:lvl4pPr>
            <a:lvl5pPr marL="802800" indent="0">
              <a:buNone/>
              <a:defRPr/>
            </a:lvl5pPr>
          </a:lstStyle>
          <a:p>
            <a:pPr lvl="0"/>
            <a:r>
              <a:rPr lang="en-CA"/>
              <a:t>Dat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4E0F7306-60AA-4A01-B5A4-1C21DAC2B2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62" y="5577515"/>
            <a:ext cx="2088000" cy="637199"/>
          </a:xfrm>
          <a:prstGeom prst="rect">
            <a:avLst/>
          </a:prstGeom>
        </p:spPr>
      </p:pic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CE076A70-3C38-4BFD-AD6C-048AD3D46F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4677600"/>
            <a:ext cx="4630688" cy="597000"/>
          </a:xfrm>
        </p:spPr>
        <p:txBody>
          <a:bodyPr anchor="t"/>
          <a:lstStyle>
            <a:lvl1pPr marL="0" indent="0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CA"/>
              <a:t>Name of the department and/or administrative department and/or division</a:t>
            </a:r>
          </a:p>
        </p:txBody>
      </p:sp>
      <p:sp>
        <p:nvSpPr>
          <p:cNvPr id="13" name="Espace réservé pour une image  6">
            <a:extLst>
              <a:ext uri="{FF2B5EF4-FFF2-40B4-BE49-F238E27FC236}">
                <a16:creationId xmlns:a16="http://schemas.microsoft.com/office/drawing/2014/main" id="{38F37748-755A-4974-9C7E-6F41ACDCA16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31905" y="455613"/>
            <a:ext cx="6960096" cy="59435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marL="68400" marR="0" lvl="0" indent="-684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 "/>
              <a:tabLst/>
              <a:defRPr/>
            </a:pPr>
            <a:r>
              <a:rPr lang="en-CA"/>
              <a:t>Click the icon to add an image</a:t>
            </a:r>
          </a:p>
        </p:txBody>
      </p:sp>
    </p:spTree>
    <p:extLst>
      <p:ext uri="{BB962C8B-B14F-4D97-AF65-F5344CB8AC3E}">
        <p14:creationId xmlns:p14="http://schemas.microsoft.com/office/powerpoint/2010/main" val="72897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/>
              <a:t>Cliquez et modifiez le titre</a:t>
            </a:r>
            <a:endParaRPr lang="fr-FR"/>
          </a:p>
        </p:txBody>
      </p:sp>
      <p:sp>
        <p:nvSpPr>
          <p:cNvPr id="3" name="Espace réservé du numéro de diapositive 3">
            <a:extLst>
              <a:ext uri="{FF2B5EF4-FFF2-40B4-BE49-F238E27FC236}">
                <a16:creationId xmlns:a16="http://schemas.microsoft.com/office/drawing/2014/main" id="{617F543B-A67B-5936-4AD0-463921B99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41" y="6297792"/>
            <a:ext cx="8879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fld id="{161BA69A-34B1-4987-87BB-96595F8152A2}" type="slidenum">
              <a:rPr lang="fr-CA" smtClean="0"/>
              <a:pPr/>
              <a:t>‹N°›</a:t>
            </a:fld>
            <a:endParaRPr lang="fr-CA" dirty="0"/>
          </a:p>
        </p:txBody>
      </p:sp>
      <p:sp>
        <p:nvSpPr>
          <p:cNvPr id="4" name="Espace réservé du texte 5">
            <a:extLst>
              <a:ext uri="{FF2B5EF4-FFF2-40B4-BE49-F238E27FC236}">
                <a16:creationId xmlns:a16="http://schemas.microsoft.com/office/drawing/2014/main" id="{FF947E6B-D715-8125-1205-5DA4D02B9D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44231" y="0"/>
            <a:ext cx="3604347" cy="488484"/>
          </a:xfrm>
        </p:spPr>
        <p:txBody>
          <a:bodyPr tIns="72000" bIns="0" anchor="b"/>
          <a:lstStyle>
            <a:lvl1pPr marL="0" indent="0" algn="r">
              <a:lnSpc>
                <a:spcPct val="80000"/>
              </a:lnSpc>
              <a:spcAft>
                <a:spcPts val="0"/>
              </a:spcAft>
              <a:buNone/>
              <a:defRPr sz="1400" spc="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INSÉRER LE TITRE </a:t>
            </a:r>
            <a:br>
              <a:rPr lang="fr-FR" dirty="0"/>
            </a:br>
            <a:r>
              <a:rPr lang="fr-FR" dirty="0"/>
              <a:t>DE LA SECTION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25783799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3496A36-272F-1291-162F-A31528BE20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2FF653C8-BA40-DD2B-185E-ABCBE2DD2CD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CA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8CBB957-042F-8663-E8D4-CF06E3717D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D127E70-9CEC-97CA-017E-94B88C47BA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9640FD7-A243-BAAA-6C48-C5C3E257C8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536EBB9-20A6-BDAB-278A-A7AE6E8E1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11179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42" Type="http://schemas.openxmlformats.org/officeDocument/2006/relationships/slideLayout" Target="../slideLayouts/slideLayout55.xml"/><Relationship Id="rId47" Type="http://schemas.openxmlformats.org/officeDocument/2006/relationships/slideLayout" Target="../slideLayouts/slideLayout60.xml"/><Relationship Id="rId50" Type="http://schemas.openxmlformats.org/officeDocument/2006/relationships/slideLayout" Target="../slideLayouts/slideLayout63.xml"/><Relationship Id="rId55" Type="http://schemas.openxmlformats.org/officeDocument/2006/relationships/slideLayout" Target="../slideLayouts/slideLayout68.xml"/><Relationship Id="rId63" Type="http://schemas.openxmlformats.org/officeDocument/2006/relationships/slideLayout" Target="../slideLayouts/slideLayout76.xml"/><Relationship Id="rId68" Type="http://schemas.openxmlformats.org/officeDocument/2006/relationships/slideLayout" Target="../slideLayouts/slideLayout81.xml"/><Relationship Id="rId7" Type="http://schemas.openxmlformats.org/officeDocument/2006/relationships/slideLayout" Target="../slideLayouts/slideLayout20.xml"/><Relationship Id="rId71" Type="http://schemas.openxmlformats.org/officeDocument/2006/relationships/slideLayout" Target="../slideLayouts/slideLayout84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58.xml"/><Relationship Id="rId53" Type="http://schemas.openxmlformats.org/officeDocument/2006/relationships/slideLayout" Target="../slideLayouts/slideLayout66.xml"/><Relationship Id="rId58" Type="http://schemas.openxmlformats.org/officeDocument/2006/relationships/slideLayout" Target="../slideLayouts/slideLayout71.xml"/><Relationship Id="rId66" Type="http://schemas.openxmlformats.org/officeDocument/2006/relationships/slideLayout" Target="../slideLayouts/slideLayout79.xml"/><Relationship Id="rId74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49" Type="http://schemas.openxmlformats.org/officeDocument/2006/relationships/slideLayout" Target="../slideLayouts/slideLayout62.xml"/><Relationship Id="rId57" Type="http://schemas.openxmlformats.org/officeDocument/2006/relationships/slideLayout" Target="../slideLayouts/slideLayout70.xml"/><Relationship Id="rId61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4" Type="http://schemas.openxmlformats.org/officeDocument/2006/relationships/slideLayout" Target="../slideLayouts/slideLayout57.xml"/><Relationship Id="rId52" Type="http://schemas.openxmlformats.org/officeDocument/2006/relationships/slideLayout" Target="../slideLayouts/slideLayout65.xml"/><Relationship Id="rId60" Type="http://schemas.openxmlformats.org/officeDocument/2006/relationships/slideLayout" Target="../slideLayouts/slideLayout73.xml"/><Relationship Id="rId65" Type="http://schemas.openxmlformats.org/officeDocument/2006/relationships/slideLayout" Target="../slideLayouts/slideLayout78.xml"/><Relationship Id="rId73" Type="http://schemas.openxmlformats.org/officeDocument/2006/relationships/slideLayout" Target="../slideLayouts/slideLayout86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slideLayout" Target="../slideLayouts/slideLayout56.xml"/><Relationship Id="rId48" Type="http://schemas.openxmlformats.org/officeDocument/2006/relationships/slideLayout" Target="../slideLayouts/slideLayout61.xml"/><Relationship Id="rId56" Type="http://schemas.openxmlformats.org/officeDocument/2006/relationships/slideLayout" Target="../slideLayouts/slideLayout69.xml"/><Relationship Id="rId64" Type="http://schemas.openxmlformats.org/officeDocument/2006/relationships/slideLayout" Target="../slideLayouts/slideLayout77.xml"/><Relationship Id="rId69" Type="http://schemas.openxmlformats.org/officeDocument/2006/relationships/slideLayout" Target="../slideLayouts/slideLayout82.xml"/><Relationship Id="rId8" Type="http://schemas.openxmlformats.org/officeDocument/2006/relationships/slideLayout" Target="../slideLayouts/slideLayout21.xml"/><Relationship Id="rId51" Type="http://schemas.openxmlformats.org/officeDocument/2006/relationships/slideLayout" Target="../slideLayouts/slideLayout64.xml"/><Relationship Id="rId72" Type="http://schemas.openxmlformats.org/officeDocument/2006/relationships/slideLayout" Target="../slideLayouts/slideLayout85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46" Type="http://schemas.openxmlformats.org/officeDocument/2006/relationships/slideLayout" Target="../slideLayouts/slideLayout59.xml"/><Relationship Id="rId59" Type="http://schemas.openxmlformats.org/officeDocument/2006/relationships/slideLayout" Target="../slideLayouts/slideLayout72.xml"/><Relationship Id="rId67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Relationship Id="rId54" Type="http://schemas.openxmlformats.org/officeDocument/2006/relationships/slideLayout" Target="../slideLayouts/slideLayout67.xml"/><Relationship Id="rId62" Type="http://schemas.openxmlformats.org/officeDocument/2006/relationships/slideLayout" Target="../slideLayouts/slideLayout75.xml"/><Relationship Id="rId70" Type="http://schemas.openxmlformats.org/officeDocument/2006/relationships/slideLayout" Target="../slideLayouts/slideLayout83.xml"/><Relationship Id="rId75" Type="http://schemas.openxmlformats.org/officeDocument/2006/relationships/image" Target="../media/image2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75F0D166-FE60-81BF-0EEE-AAEFD1391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BA17A2D-9F1B-170C-EFCE-0025A16811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BCA9982-754A-3BCA-B630-37B422E071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E6ABFD0-504E-42EF-947A-D8DE40D5F20B}" type="datetimeFigureOut">
              <a:rPr lang="fr-CA" smtClean="0"/>
              <a:t>2024-11-14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E100B90-3BA6-CC8A-A223-170C6D58E1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fr-C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5FB043B-4B47-9654-20C3-2944D6DE2C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27AD7C0-CDCB-4A11-B614-BD76EFB0B43C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163439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B6F47F3-01D1-424D-9360-383FC19E9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5" y="403200"/>
            <a:ext cx="11089232" cy="1008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CA"/>
              <a:t>Cliquez pour ajouter une manchett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8228733-D441-43CE-AAFA-D7A970D70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1385" y="1484784"/>
            <a:ext cx="11089232" cy="4692179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CA"/>
              <a:t>Cliquez pour modifier le text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</a:p>
          <a:p>
            <a:pPr lvl="5"/>
            <a:r>
              <a:rPr lang="fr-CA"/>
              <a:t>Sixième niveau</a:t>
            </a:r>
          </a:p>
          <a:p>
            <a:pPr lvl="6"/>
            <a:r>
              <a:rPr lang="fr-CA"/>
              <a:t>Septième niveau pour titre de paragraphe</a:t>
            </a:r>
          </a:p>
          <a:p>
            <a:pPr lvl="7"/>
            <a:r>
              <a:rPr lang="fr-CA"/>
              <a:t>Huitième niveau pour une deuxième option de texte sans puce</a:t>
            </a:r>
          </a:p>
          <a:p>
            <a:pPr lvl="8"/>
            <a:r>
              <a:rPr lang="fr-CA"/>
              <a:t>Neuvième niveau identique au troisièm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CC0ACB1-6529-4450-A2C4-BDFA5D4292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60296" y="6957392"/>
            <a:ext cx="2743200" cy="2160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D42C4-328D-4D55-839E-3A6CA1FE13F2}" type="datetime1">
              <a:rPr lang="fr-CA" smtClean="0"/>
              <a:t>2024-11-14</a:t>
            </a:fld>
            <a:endParaRPr lang="fr-C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025A675-CF78-4C59-892C-14186E9EB5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2024" y="6550183"/>
            <a:ext cx="3743936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endParaRPr lang="fr-CA" sz="120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367FB0A-A751-4453-99BF-AD685EF52E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616" y="6550183"/>
            <a:ext cx="551376" cy="216000"/>
          </a:xfrm>
          <a:prstGeom prst="rect">
            <a:avLst/>
          </a:prstGeom>
          <a:noFill/>
        </p:spPr>
        <p:txBody>
          <a:bodyPr vert="horz" lIns="0" tIns="45720" rIns="0" bIns="45720" rtlCol="0" anchor="ctr"/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fld id="{BE6F3E46-F02B-4798-9A31-17038199D171}" type="slidenum">
              <a:rPr lang="fr-CA" smtClean="0"/>
              <a:pPr/>
              <a:t>‹N°›</a:t>
            </a:fld>
            <a:endParaRPr lang="fr-CA"/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DC8B7B31-D8B0-402B-81F5-4128C3C12E10}"/>
              </a:ext>
            </a:extLst>
          </p:cNvPr>
          <p:cNvCxnSpPr>
            <a:cxnSpLocks/>
          </p:cNvCxnSpPr>
          <p:nvPr/>
        </p:nvCxnSpPr>
        <p:spPr>
          <a:xfrm>
            <a:off x="-312712" y="1484796"/>
            <a:ext cx="21602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2507FCD7-5CA6-432C-A1FF-AF336D682028}"/>
              </a:ext>
            </a:extLst>
          </p:cNvPr>
          <p:cNvCxnSpPr>
            <a:cxnSpLocks/>
          </p:cNvCxnSpPr>
          <p:nvPr/>
        </p:nvCxnSpPr>
        <p:spPr>
          <a:xfrm>
            <a:off x="-312712" y="6381328"/>
            <a:ext cx="21602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FD4A4B71-4B03-4B07-B03D-66DCF751DCBA}"/>
              </a:ext>
            </a:extLst>
          </p:cNvPr>
          <p:cNvCxnSpPr>
            <a:cxnSpLocks/>
          </p:cNvCxnSpPr>
          <p:nvPr/>
        </p:nvCxnSpPr>
        <p:spPr>
          <a:xfrm>
            <a:off x="12288688" y="1484796"/>
            <a:ext cx="21602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C63BF5F8-B9FF-48BC-BC56-B79433E7CF17}"/>
              </a:ext>
            </a:extLst>
          </p:cNvPr>
          <p:cNvCxnSpPr>
            <a:cxnSpLocks/>
          </p:cNvCxnSpPr>
          <p:nvPr/>
        </p:nvCxnSpPr>
        <p:spPr>
          <a:xfrm>
            <a:off x="12288688" y="6381328"/>
            <a:ext cx="21602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0D2F8315-0DFC-462D-9F60-3CAC21CAA9E7}"/>
              </a:ext>
            </a:extLst>
          </p:cNvPr>
          <p:cNvCxnSpPr>
            <a:cxnSpLocks/>
          </p:cNvCxnSpPr>
          <p:nvPr/>
        </p:nvCxnSpPr>
        <p:spPr>
          <a:xfrm flipV="1">
            <a:off x="551384" y="-315416"/>
            <a:ext cx="0" cy="216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>
            <a:extLst>
              <a:ext uri="{FF2B5EF4-FFF2-40B4-BE49-F238E27FC236}">
                <a16:creationId xmlns:a16="http://schemas.microsoft.com/office/drawing/2014/main" id="{FB247E4D-46BF-4399-9E66-56FFC1F28849}"/>
              </a:ext>
            </a:extLst>
          </p:cNvPr>
          <p:cNvCxnSpPr>
            <a:cxnSpLocks/>
          </p:cNvCxnSpPr>
          <p:nvPr/>
        </p:nvCxnSpPr>
        <p:spPr>
          <a:xfrm flipV="1">
            <a:off x="11640616" y="-315416"/>
            <a:ext cx="0" cy="216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13718CDF-5404-4E91-8D05-8747B4D0B1A0}"/>
              </a:ext>
            </a:extLst>
          </p:cNvPr>
          <p:cNvCxnSpPr>
            <a:cxnSpLocks/>
          </p:cNvCxnSpPr>
          <p:nvPr/>
        </p:nvCxnSpPr>
        <p:spPr>
          <a:xfrm flipV="1">
            <a:off x="551384" y="7029424"/>
            <a:ext cx="0" cy="216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6EEEE647-BF4C-49B3-B741-B21F0BC95DF2}"/>
              </a:ext>
            </a:extLst>
          </p:cNvPr>
          <p:cNvCxnSpPr>
            <a:cxnSpLocks/>
          </p:cNvCxnSpPr>
          <p:nvPr/>
        </p:nvCxnSpPr>
        <p:spPr>
          <a:xfrm flipV="1">
            <a:off x="11640616" y="6957392"/>
            <a:ext cx="0" cy="216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7">
            <a:extLst>
              <a:ext uri="{FF2B5EF4-FFF2-40B4-BE49-F238E27FC236}">
                <a16:creationId xmlns:a16="http://schemas.microsoft.com/office/drawing/2014/main" id="{B5F46564-F026-4E2B-8E96-8E96484758C0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  <p:cxnSp>
        <p:nvCxnSpPr>
          <p:cNvPr id="16" name="Connecteur droit 24">
            <a:extLst>
              <a:ext uri="{FF2B5EF4-FFF2-40B4-BE49-F238E27FC236}">
                <a16:creationId xmlns:a16="http://schemas.microsoft.com/office/drawing/2014/main" id="{B8B06D38-97A1-4CEB-A80A-3A4AB63935EE}"/>
              </a:ext>
            </a:extLst>
          </p:cNvPr>
          <p:cNvCxnSpPr>
            <a:cxnSpLocks/>
          </p:cNvCxnSpPr>
          <p:nvPr userDrawn="1"/>
        </p:nvCxnSpPr>
        <p:spPr>
          <a:xfrm>
            <a:off x="-312712" y="1484796"/>
            <a:ext cx="21602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" name="Connecteur droit 25">
            <a:extLst>
              <a:ext uri="{FF2B5EF4-FFF2-40B4-BE49-F238E27FC236}">
                <a16:creationId xmlns:a16="http://schemas.microsoft.com/office/drawing/2014/main" id="{79C3A813-5DB5-4503-AFAF-F7ED7EC632B3}"/>
              </a:ext>
            </a:extLst>
          </p:cNvPr>
          <p:cNvCxnSpPr>
            <a:cxnSpLocks/>
          </p:cNvCxnSpPr>
          <p:nvPr userDrawn="1"/>
        </p:nvCxnSpPr>
        <p:spPr>
          <a:xfrm>
            <a:off x="-312712" y="6381328"/>
            <a:ext cx="21602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Connecteur droit 26">
            <a:extLst>
              <a:ext uri="{FF2B5EF4-FFF2-40B4-BE49-F238E27FC236}">
                <a16:creationId xmlns:a16="http://schemas.microsoft.com/office/drawing/2014/main" id="{9CCC5644-6BD0-4B99-B99A-96ECE046ADE1}"/>
              </a:ext>
            </a:extLst>
          </p:cNvPr>
          <p:cNvCxnSpPr>
            <a:cxnSpLocks/>
          </p:cNvCxnSpPr>
          <p:nvPr userDrawn="1"/>
        </p:nvCxnSpPr>
        <p:spPr>
          <a:xfrm>
            <a:off x="12288688" y="1484796"/>
            <a:ext cx="21602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" name="Connecteur droit 27">
            <a:extLst>
              <a:ext uri="{FF2B5EF4-FFF2-40B4-BE49-F238E27FC236}">
                <a16:creationId xmlns:a16="http://schemas.microsoft.com/office/drawing/2014/main" id="{82AA0A07-5266-425C-A4E3-E8EA4297DD15}"/>
              </a:ext>
            </a:extLst>
          </p:cNvPr>
          <p:cNvCxnSpPr>
            <a:cxnSpLocks/>
          </p:cNvCxnSpPr>
          <p:nvPr userDrawn="1"/>
        </p:nvCxnSpPr>
        <p:spPr>
          <a:xfrm>
            <a:off x="12288688" y="6381328"/>
            <a:ext cx="21602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" name="Connecteur droit 28">
            <a:extLst>
              <a:ext uri="{FF2B5EF4-FFF2-40B4-BE49-F238E27FC236}">
                <a16:creationId xmlns:a16="http://schemas.microsoft.com/office/drawing/2014/main" id="{5B7C2123-5F32-4533-BC6E-B26497D8F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551384" y="-315416"/>
            <a:ext cx="0" cy="216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9">
            <a:extLst>
              <a:ext uri="{FF2B5EF4-FFF2-40B4-BE49-F238E27FC236}">
                <a16:creationId xmlns:a16="http://schemas.microsoft.com/office/drawing/2014/main" id="{3BB60558-DC4C-446C-9F98-27525900FFAD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616" y="-315416"/>
            <a:ext cx="0" cy="216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30">
            <a:extLst>
              <a:ext uri="{FF2B5EF4-FFF2-40B4-BE49-F238E27FC236}">
                <a16:creationId xmlns:a16="http://schemas.microsoft.com/office/drawing/2014/main" id="{6FDEF27A-C687-4C94-845A-55E9CDB82884}"/>
              </a:ext>
            </a:extLst>
          </p:cNvPr>
          <p:cNvCxnSpPr>
            <a:cxnSpLocks/>
          </p:cNvCxnSpPr>
          <p:nvPr userDrawn="1"/>
        </p:nvCxnSpPr>
        <p:spPr>
          <a:xfrm flipV="1">
            <a:off x="551384" y="7029424"/>
            <a:ext cx="0" cy="216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31">
            <a:extLst>
              <a:ext uri="{FF2B5EF4-FFF2-40B4-BE49-F238E27FC236}">
                <a16:creationId xmlns:a16="http://schemas.microsoft.com/office/drawing/2014/main" id="{1826C016-C83E-482C-BA6D-3A4D55C2AAF7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40616" y="6957392"/>
            <a:ext cx="0" cy="21600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Image 7">
            <a:extLst>
              <a:ext uri="{FF2B5EF4-FFF2-40B4-BE49-F238E27FC236}">
                <a16:creationId xmlns:a16="http://schemas.microsoft.com/office/drawing/2014/main" id="{61DEC57F-94FC-4E26-B450-B48F05C8D58D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460" y="6441089"/>
            <a:ext cx="1260140" cy="38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994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  <p:sldLayoutId id="2147483693" r:id="rId30"/>
    <p:sldLayoutId id="2147483694" r:id="rId31"/>
    <p:sldLayoutId id="2147483695" r:id="rId32"/>
    <p:sldLayoutId id="2147483696" r:id="rId33"/>
    <p:sldLayoutId id="2147483697" r:id="rId34"/>
    <p:sldLayoutId id="2147483698" r:id="rId35"/>
    <p:sldLayoutId id="2147483699" r:id="rId36"/>
    <p:sldLayoutId id="2147483700" r:id="rId37"/>
    <p:sldLayoutId id="2147483701" r:id="rId38"/>
    <p:sldLayoutId id="2147483702" r:id="rId39"/>
    <p:sldLayoutId id="2147483703" r:id="rId40"/>
    <p:sldLayoutId id="2147483704" r:id="rId41"/>
    <p:sldLayoutId id="2147483705" r:id="rId42"/>
    <p:sldLayoutId id="2147483706" r:id="rId43"/>
    <p:sldLayoutId id="2147483707" r:id="rId44"/>
    <p:sldLayoutId id="2147483708" r:id="rId45"/>
    <p:sldLayoutId id="2147483709" r:id="rId46"/>
    <p:sldLayoutId id="2147483710" r:id="rId47"/>
    <p:sldLayoutId id="2147483711" r:id="rId48"/>
    <p:sldLayoutId id="2147483712" r:id="rId49"/>
    <p:sldLayoutId id="2147483713" r:id="rId50"/>
    <p:sldLayoutId id="2147483714" r:id="rId51"/>
    <p:sldLayoutId id="2147483715" r:id="rId52"/>
    <p:sldLayoutId id="2147483716" r:id="rId53"/>
    <p:sldLayoutId id="2147483717" r:id="rId54"/>
    <p:sldLayoutId id="2147483718" r:id="rId55"/>
    <p:sldLayoutId id="2147483719" r:id="rId56"/>
    <p:sldLayoutId id="2147483720" r:id="rId57"/>
    <p:sldLayoutId id="2147483721" r:id="rId58"/>
    <p:sldLayoutId id="2147483722" r:id="rId59"/>
    <p:sldLayoutId id="2147483723" r:id="rId60"/>
    <p:sldLayoutId id="2147483724" r:id="rId61"/>
    <p:sldLayoutId id="2147483725" r:id="rId62"/>
    <p:sldLayoutId id="2147483726" r:id="rId63"/>
    <p:sldLayoutId id="2147483727" r:id="rId64"/>
    <p:sldLayoutId id="2147483728" r:id="rId65"/>
    <p:sldLayoutId id="2147483729" r:id="rId66"/>
    <p:sldLayoutId id="2147483730" r:id="rId67"/>
    <p:sldLayoutId id="2147483731" r:id="rId68"/>
    <p:sldLayoutId id="2147483732" r:id="rId69"/>
    <p:sldLayoutId id="2147483733" r:id="rId70"/>
    <p:sldLayoutId id="2147483734" r:id="rId71"/>
    <p:sldLayoutId id="2147483735" r:id="rId72"/>
    <p:sldLayoutId id="2147483736" r:id="rId7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8400" indent="-68400" algn="l" defTabSz="914400" rtl="0" eaLnBrk="1" latinLnBrk="0" hangingPunct="1">
        <a:lnSpc>
          <a:spcPct val="100000"/>
        </a:lnSpc>
        <a:spcBef>
          <a:spcPts val="1800"/>
        </a:spcBef>
        <a:buSzPct val="25000"/>
        <a:buFont typeface="Arial" panose="020B0604020202020204" pitchFamily="34" charset="0"/>
        <a:buChar char=" 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98800" indent="-216000" algn="l" defTabSz="914400" rtl="0" eaLnBrk="1" latinLnBrk="0" hangingPunct="1">
        <a:lnSpc>
          <a:spcPct val="100000"/>
        </a:lnSpc>
        <a:spcBef>
          <a:spcPts val="1400"/>
        </a:spcBef>
        <a:buClr>
          <a:schemeClr val="accent1"/>
        </a:buClr>
        <a:buFont typeface="Calibri" panose="020F050202020403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896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Calibri" panose="020F050202020403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40800" indent="-144000" algn="l" defTabSz="914400" rtl="0" eaLnBrk="1" latinLnBrk="0" hangingPunct="1">
        <a:lnSpc>
          <a:spcPct val="100000"/>
        </a:lnSpc>
        <a:spcBef>
          <a:spcPts val="200"/>
        </a:spcBef>
        <a:buClr>
          <a:schemeClr val="tx1"/>
        </a:buClr>
        <a:buFont typeface="Calibri" panose="020F050202020403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478800" indent="-396000" algn="l" defTabSz="914400" rtl="0" eaLnBrk="1" latinLnBrk="0" hangingPunct="1">
        <a:lnSpc>
          <a:spcPct val="100000"/>
        </a:lnSpc>
        <a:spcBef>
          <a:spcPts val="1400"/>
        </a:spcBef>
        <a:buClr>
          <a:schemeClr val="accent1"/>
        </a:buClr>
        <a:buFont typeface="+mj-lt"/>
        <a:buAutoNum type="arabicPeriod"/>
        <a:defRPr sz="20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77600" indent="-288000" algn="l" defTabSz="914400" rtl="0" eaLnBrk="1" latinLnBrk="0" hangingPunct="1">
        <a:lnSpc>
          <a:spcPct val="100000"/>
        </a:lnSpc>
        <a:spcBef>
          <a:spcPts val="400"/>
        </a:spcBef>
        <a:buClr>
          <a:schemeClr val="tx1"/>
        </a:buClr>
        <a:buFont typeface="+mj-lt"/>
        <a:buAutoNum type="alphaLcParenR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68400" indent="-68400" algn="l" defTabSz="914400" rtl="0" eaLnBrk="1" latinLnBrk="0" hangingPunct="1">
        <a:lnSpc>
          <a:spcPct val="100000"/>
        </a:lnSpc>
        <a:spcBef>
          <a:spcPts val="2000"/>
        </a:spcBef>
        <a:spcAft>
          <a:spcPts val="0"/>
        </a:spcAft>
        <a:buSzPct val="25000"/>
        <a:buFont typeface="Arial" panose="020B0604020202020204" pitchFamily="34" charset="0"/>
        <a:buChar char=" "/>
        <a:defRPr sz="24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68400" indent="-68400" algn="l" defTabSz="914400" rtl="0" eaLnBrk="1" latinLnBrk="0" hangingPunct="1">
        <a:lnSpc>
          <a:spcPct val="100000"/>
        </a:lnSpc>
        <a:spcBef>
          <a:spcPts val="800"/>
        </a:spcBef>
        <a:buSzPct val="25000"/>
        <a:buFont typeface="Calibri" panose="020F0502020204030204" pitchFamily="34" charset="0"/>
        <a:buChar char=" 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489600" indent="-180000" algn="l" defTabSz="914400" rtl="0" eaLnBrk="1" latinLnBrk="0" hangingPunct="1">
        <a:lnSpc>
          <a:spcPct val="100000"/>
        </a:lnSpc>
        <a:spcBef>
          <a:spcPts val="400"/>
        </a:spcBef>
        <a:buFont typeface="Calibri" panose="020F050202020403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31.png"/><Relationship Id="rId3" Type="http://schemas.openxmlformats.org/officeDocument/2006/relationships/tags" Target="../tags/tag4.xml"/><Relationship Id="rId21" Type="http://schemas.microsoft.com/office/2007/relationships/hdphoto" Target="../media/hdphoto3.wdp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30.emf"/><Relationship Id="rId2" Type="http://schemas.openxmlformats.org/officeDocument/2006/relationships/tags" Target="../tags/tag3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32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29.jpeg"/><Relationship Id="rId10" Type="http://schemas.openxmlformats.org/officeDocument/2006/relationships/tags" Target="../tags/tag11.xml"/><Relationship Id="rId19" Type="http://schemas.microsoft.com/office/2007/relationships/hdphoto" Target="../media/hdphoto2.wdp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8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https://www.desjardins.com/qc/fr/entreprises.html" TargetMode="External"/><Relationship Id="rId1" Type="http://schemas.openxmlformats.org/officeDocument/2006/relationships/slideLayout" Target="../slideLayouts/slideLayout3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 20" descr="Une image contenant texte, Police, signe&#10;&#10;Description générée automatiquement">
            <a:extLst>
              <a:ext uri="{FF2B5EF4-FFF2-40B4-BE49-F238E27FC236}">
                <a16:creationId xmlns:a16="http://schemas.microsoft.com/office/drawing/2014/main" id="{74EA7512-925B-90AF-AFD5-D26F28BCB3E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7811969" y="480748"/>
            <a:ext cx="4380031" cy="5898516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98D071F6-D93E-EADF-0922-DBABFFA3D0CB}"/>
              </a:ext>
            </a:extLst>
          </p:cNvPr>
          <p:cNvSpPr txBox="1">
            <a:spLocks/>
          </p:cNvSpPr>
          <p:nvPr/>
        </p:nvSpPr>
        <p:spPr>
          <a:xfrm>
            <a:off x="457200" y="1143000"/>
            <a:ext cx="8519120" cy="2448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6000" b="1" kern="1200" spc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6000" b="1" i="0" u="none" strike="noStrike" kern="1200" cap="none" spc="0" normalizeH="0" baseline="0" noProof="0">
                <a:ln>
                  <a:noFill/>
                </a:ln>
                <a:solidFill>
                  <a:srgbClr val="00874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Tourisme Montmagny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6000" b="1" i="0" u="none" strike="noStrike" kern="1200" cap="none" spc="0" normalizeH="0" baseline="0" noProof="0">
                <a:ln>
                  <a:noFill/>
                </a:ln>
                <a:solidFill>
                  <a:srgbClr val="00874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et les Îles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2C33B12-2959-E8E4-BB9C-B69150BDFA49}"/>
              </a:ext>
            </a:extLst>
          </p:cNvPr>
          <p:cNvSpPr txBox="1">
            <a:spLocks/>
          </p:cNvSpPr>
          <p:nvPr/>
        </p:nvSpPr>
        <p:spPr>
          <a:xfrm>
            <a:off x="457200" y="3733800"/>
            <a:ext cx="8519120" cy="936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25000"/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None/>
              <a:defRPr sz="16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ct val="25000"/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25000"/>
              <a:buFont typeface="Calibri" panose="020F050202020403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None/>
              <a:tabLst/>
              <a:defRPr/>
            </a:pPr>
            <a:r>
              <a:rPr kumimoji="0" lang="fr-CA" sz="2400" b="0" i="0" u="none" strike="noStrike" kern="120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lan de la saison 2024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FF1A191-707E-9B36-DF7B-F2F5E250BD51}"/>
              </a:ext>
            </a:extLst>
          </p:cNvPr>
          <p:cNvSpPr txBox="1">
            <a:spLocks/>
          </p:cNvSpPr>
          <p:nvPr/>
        </p:nvSpPr>
        <p:spPr>
          <a:xfrm>
            <a:off x="457200" y="4677440"/>
            <a:ext cx="8518525" cy="597160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25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8800" indent="-21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0800" indent="-144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8800" indent="-39600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AutoNum type="arabicPeriod"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ct val="25000"/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25000"/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fr-CA" sz="1600" b="1" i="0" u="none" strike="noStrike" kern="1200" cap="none" spc="0" normalizeH="0" baseline="0" noProof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uno Fournier, Desjardins Entreprises Côte-du-Sud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37BBFBB-5F6B-7F0F-B8B6-A8078B0CE4F8}"/>
              </a:ext>
            </a:extLst>
          </p:cNvPr>
          <p:cNvSpPr txBox="1">
            <a:spLocks/>
          </p:cNvSpPr>
          <p:nvPr/>
        </p:nvSpPr>
        <p:spPr>
          <a:xfrm>
            <a:off x="457200" y="4985640"/>
            <a:ext cx="4620540" cy="288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25000"/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Calibri" panose="020F050202020403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920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Calibri" panose="020F050202020403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280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tx1"/>
              </a:buClr>
              <a:buFont typeface="Calibri" panose="020F050202020403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2800" indent="0" algn="l" defTabSz="914400" rtl="0" eaLnBrk="1" latinLnBrk="0" hangingPunct="1">
              <a:lnSpc>
                <a:spcPct val="100000"/>
              </a:lnSpc>
              <a:spcBef>
                <a:spcPts val="1400"/>
              </a:spcBef>
              <a:buClr>
                <a:schemeClr val="accent1"/>
              </a:buClr>
              <a:buFont typeface="+mj-lt"/>
              <a:buNone/>
              <a:defRPr sz="20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77600" indent="-288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+mj-lt"/>
              <a:buAutoNum type="alphaLcParenR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8400" indent="-68400" algn="l" defTabSz="914400" rtl="0" eaLnBrk="1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ct val="25000"/>
              <a:buFont typeface="Arial" panose="020B0604020202020204" pitchFamily="34" charset="0"/>
              <a:buChar char=" "/>
              <a:defRPr sz="2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68400" indent="-68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25000"/>
              <a:buFont typeface="Calibri" panose="020F0502020204030204" pitchFamily="34" charset="0"/>
              <a:buChar char=" 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Calibri" panose="020F050202020403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None/>
              <a:tabLst/>
              <a:defRPr/>
            </a:pPr>
            <a:r>
              <a:rPr lang="fr-CA">
                <a:solidFill>
                  <a:srgbClr val="383838"/>
                </a:solidFill>
                <a:latin typeface="Calibri" panose="020F0502020204030204"/>
              </a:rPr>
              <a:t>14 novembre 2024</a:t>
            </a:r>
            <a:endParaRPr kumimoji="0" lang="fr-CA" sz="14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473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757F0028-4818-409D-0DB6-4C63A5DF5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6F3E46-F02B-4798-9A31-17038199D171}" type="slidenum">
              <a:rPr lang="fr-CA" smtClean="0"/>
              <a:t>10</a:t>
            </a:fld>
            <a:endParaRPr lang="fr-CA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56C42136-2258-41BC-AD2A-9FA7C5A01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3143" y="438524"/>
            <a:ext cx="7885714" cy="59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75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A88F983-8965-D6D5-212B-8C9A57035B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88394" y="998948"/>
            <a:ext cx="9144000" cy="2376264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fr-CA" sz="6000" b="1" i="0" u="none" strike="noStrike" kern="1200" cap="none" spc="0" normalizeH="0" baseline="0" noProof="0">
                <a:ln>
                  <a:noFill/>
                </a:ln>
                <a:solidFill>
                  <a:srgbClr val="0087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ériode de questions</a:t>
            </a:r>
            <a:br>
              <a:rPr kumimoji="0" lang="fr-CA" sz="6000" b="1" i="0" u="none" strike="noStrike" kern="1200" cap="none" spc="0" normalizeH="0" baseline="0" noProof="0">
                <a:ln>
                  <a:noFill/>
                </a:ln>
                <a:solidFill>
                  <a:srgbClr val="0087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lang="fr-CA" sz="6600">
              <a:solidFill>
                <a:schemeClr val="accent6"/>
              </a:solidFill>
            </a:endParaRPr>
          </a:p>
        </p:txBody>
      </p:sp>
      <p:pic>
        <p:nvPicPr>
          <p:cNvPr id="1028" name="Picture 4" descr="Open Ended Questions Examples + Why To Ask Them">
            <a:extLst>
              <a:ext uri="{FF2B5EF4-FFF2-40B4-BE49-F238E27FC236}">
                <a16:creationId xmlns:a16="http://schemas.microsoft.com/office/drawing/2014/main" id="{030AC52B-AE4C-92EC-6D15-4CB4E8612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2524" y="3375212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8754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07B882E-5AFE-4E41-87E5-977408A55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774011D-0D96-4BE2-B31F-3EB5CE2DD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6F3E46-F02B-4798-9A31-17038199D171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6CF3C5E-BF44-44B8-BF31-AB8C60BDBB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CED1A67-9CDD-4F11-B0E6-2123B31B75A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Titre 8">
            <a:extLst>
              <a:ext uri="{FF2B5EF4-FFF2-40B4-BE49-F238E27FC236}">
                <a16:creationId xmlns:a16="http://schemas.microsoft.com/office/drawing/2014/main" id="{834BBA1E-CE21-B256-9793-8E1095EBA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800" y="94717"/>
            <a:ext cx="10515600" cy="1325563"/>
          </a:xfrm>
        </p:spPr>
        <p:txBody>
          <a:bodyPr>
            <a:normAutofit/>
          </a:bodyPr>
          <a:lstStyle/>
          <a:p>
            <a:r>
              <a:rPr kumimoji="0" lang="fr-CA" sz="5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os emplacements</a:t>
            </a:r>
            <a:endParaRPr lang="fr-CA" sz="5200"/>
          </a:p>
        </p:txBody>
      </p:sp>
      <p:pic>
        <p:nvPicPr>
          <p:cNvPr id="40" name="Image 39">
            <a:extLst>
              <a:ext uri="{FF2B5EF4-FFF2-40B4-BE49-F238E27FC236}">
                <a16:creationId xmlns:a16="http://schemas.microsoft.com/office/drawing/2014/main" id="{BD1AE8B5-DB73-8591-93CF-3BC29778BA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6666" y="1079488"/>
            <a:ext cx="4581370" cy="5118917"/>
          </a:xfrm>
          <a:prstGeom prst="rect">
            <a:avLst/>
          </a:prstGeom>
        </p:spPr>
      </p:pic>
      <p:pic>
        <p:nvPicPr>
          <p:cNvPr id="33" name="Graphique 32" descr="Maison1 avec un remplissage uni">
            <a:extLst>
              <a:ext uri="{FF2B5EF4-FFF2-40B4-BE49-F238E27FC236}">
                <a16:creationId xmlns:a16="http://schemas.microsoft.com/office/drawing/2014/main" id="{3ED6FFAF-EDC9-4A37-86AE-06FA6D1DD9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91411" y="4625117"/>
            <a:ext cx="304216" cy="390909"/>
          </a:xfrm>
          <a:prstGeom prst="rect">
            <a:avLst/>
          </a:prstGeom>
        </p:spPr>
      </p:pic>
      <p:pic>
        <p:nvPicPr>
          <p:cNvPr id="36" name="Graphique 35" descr="Maison1 avec un remplissage uni">
            <a:extLst>
              <a:ext uri="{FF2B5EF4-FFF2-40B4-BE49-F238E27FC236}">
                <a16:creationId xmlns:a16="http://schemas.microsoft.com/office/drawing/2014/main" id="{DDCDD339-D80C-4D10-B2B9-8A85A9339B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39256" y="3047656"/>
            <a:ext cx="304216" cy="390909"/>
          </a:xfrm>
          <a:prstGeom prst="rect">
            <a:avLst/>
          </a:prstGeom>
        </p:spPr>
      </p:pic>
      <p:pic>
        <p:nvPicPr>
          <p:cNvPr id="38" name="Graphique 37" descr="Maison1 avec un remplissage uni">
            <a:extLst>
              <a:ext uri="{FF2B5EF4-FFF2-40B4-BE49-F238E27FC236}">
                <a16:creationId xmlns:a16="http://schemas.microsoft.com/office/drawing/2014/main" id="{CCC39E66-6C3F-4FE0-A815-F7ADEB8878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15567" y="2511606"/>
            <a:ext cx="304216" cy="390909"/>
          </a:xfrm>
          <a:prstGeom prst="rect">
            <a:avLst/>
          </a:prstGeom>
        </p:spPr>
      </p:pic>
      <p:pic>
        <p:nvPicPr>
          <p:cNvPr id="31" name="Graphique 30" descr="Maison1 avec un remplissage uni">
            <a:extLst>
              <a:ext uri="{FF2B5EF4-FFF2-40B4-BE49-F238E27FC236}">
                <a16:creationId xmlns:a16="http://schemas.microsoft.com/office/drawing/2014/main" id="{7F99A860-42D2-49D9-92B4-979B228CA9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56384" y="4097039"/>
            <a:ext cx="304216" cy="390909"/>
          </a:xfrm>
          <a:prstGeom prst="rect">
            <a:avLst/>
          </a:prstGeom>
        </p:spPr>
      </p:pic>
      <p:pic>
        <p:nvPicPr>
          <p:cNvPr id="35" name="Graphique 34" descr="Maison1 avec un remplissage uni">
            <a:extLst>
              <a:ext uri="{FF2B5EF4-FFF2-40B4-BE49-F238E27FC236}">
                <a16:creationId xmlns:a16="http://schemas.microsoft.com/office/drawing/2014/main" id="{CE9A0297-9241-475A-A496-1ADAB1BDA9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07883" y="4683403"/>
            <a:ext cx="304216" cy="39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482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90E05836-D31C-4ABA-AA38-65FB9C7F929F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186127" y="2204023"/>
            <a:ext cx="10586774" cy="3279870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4292" tIns="32145" rIns="64292" bIns="32145" numCol="1" rtlCol="0" anchor="ctr" anchorCtr="0" compatLnSpc="1">
            <a:prstTxWarp prst="textNoShape">
              <a:avLst/>
            </a:prstTxWarp>
          </a:bodyPr>
          <a:lstStyle/>
          <a:p>
            <a:pPr marL="122788" algn="l" defTabSz="642962" rtl="0">
              <a:lnSpc>
                <a:spcPct val="90000"/>
              </a:lnSpc>
              <a:spcAft>
                <a:spcPts val="1688"/>
              </a:spcAft>
            </a:pPr>
            <a:endParaRPr lang="fr-ca" sz="1969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ＭＳ Ｐゴシック" charset="0"/>
              <a:sym typeface="Arial" charset="0"/>
            </a:endParaRPr>
          </a:p>
        </p:txBody>
      </p:sp>
      <p:sp>
        <p:nvSpPr>
          <p:cNvPr id="6" name="Rectangle : avec coins arrondis en haut 5">
            <a:extLst>
              <a:ext uri="{FF2B5EF4-FFF2-40B4-BE49-F238E27FC236}">
                <a16:creationId xmlns:a16="http://schemas.microsoft.com/office/drawing/2014/main" id="{E50C752F-4336-91B7-0DA4-01446FFCC0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80143" y="884255"/>
            <a:ext cx="3945921" cy="5288858"/>
          </a:xfrm>
          <a:prstGeom prst="round2SameRect">
            <a:avLst>
              <a:gd name="adj1" fmla="val 6260"/>
              <a:gd name="adj2" fmla="val 0"/>
            </a:avLst>
          </a:prstGeom>
          <a:solidFill>
            <a:srgbClr val="F2F2F2"/>
          </a:solidFill>
        </p:spPr>
        <p:txBody>
          <a:bodyPr wrap="square" bIns="0" anchor="ctr">
            <a:noAutofit/>
          </a:bodyPr>
          <a:lstStyle/>
          <a:p>
            <a:pPr algn="l" rtl="0">
              <a:lnSpc>
                <a:spcPct val="80000"/>
              </a:lnSpc>
            </a:pPr>
            <a:endParaRPr lang="fr-ca" sz="1688" b="1" spc="71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3" name="Espace réservé du contenu 22">
            <a:extLst>
              <a:ext uri="{FF2B5EF4-FFF2-40B4-BE49-F238E27FC236}">
                <a16:creationId xmlns:a16="http://schemas.microsoft.com/office/drawing/2014/main" id="{BF626693-5083-4F77-BB42-51BF62C66499}"/>
              </a:ext>
            </a:extLst>
          </p:cNvPr>
          <p:cNvSpPr>
            <a:spLocks noGrp="1"/>
          </p:cNvSpPr>
          <p:nvPr>
            <p:ph sz="half" idx="4294967295"/>
            <p:custDataLst>
              <p:tags r:id="rId3"/>
            </p:custDataLst>
          </p:nvPr>
        </p:nvSpPr>
        <p:spPr>
          <a:xfrm>
            <a:off x="7680143" y="2204023"/>
            <a:ext cx="3923697" cy="3969090"/>
          </a:xfrm>
          <a:noFill/>
        </p:spPr>
        <p:txBody>
          <a:bodyPr vert="horz" wrap="square" lIns="108000" tIns="36000" rIns="108000" bIns="36000" numCol="1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rtl="0">
              <a:lnSpc>
                <a:spcPct val="90000"/>
              </a:lnSpc>
              <a:spcAft>
                <a:spcPts val="1800"/>
              </a:spcAft>
              <a:buClr>
                <a:srgbClr val="008C53"/>
              </a:buClr>
              <a:buNone/>
              <a:defRPr/>
            </a:pPr>
            <a:r>
              <a:rPr lang="fr-ca" sz="1500" b="0" i="0" u="none" baseline="0">
                <a:solidFill>
                  <a:schemeClr val="accent1"/>
                </a:solidFill>
                <a:latin typeface="Calibri"/>
                <a:ea typeface="ＭＳ Ｐゴシック"/>
                <a:cs typeface="Calibri"/>
              </a:rPr>
              <a:t>| </a:t>
            </a:r>
            <a:r>
              <a:rPr lang="fr-ca" sz="1500" b="0" i="0" u="none" baseline="0">
                <a:solidFill>
                  <a:schemeClr val="accent6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Équipes spécialisées </a:t>
            </a:r>
            <a:r>
              <a:rPr lang="fr-ca" sz="1500" b="0" i="0" u="none" baseline="0">
                <a:latin typeface="Calibri"/>
                <a:ea typeface="ＭＳ Ｐゴシック"/>
                <a:cs typeface="Calibri"/>
                <a:sym typeface="Gotham-Medium"/>
              </a:rPr>
              <a:t>|</a:t>
            </a:r>
            <a:endParaRPr lang="fr-ca" dirty="0"/>
          </a:p>
          <a:p>
            <a:pPr marL="0" indent="0" algn="ctr" rtl="0">
              <a:lnSpc>
                <a:spcPct val="90000"/>
              </a:lnSpc>
              <a:spcAft>
                <a:spcPts val="1800"/>
              </a:spcAft>
              <a:buClr>
                <a:srgbClr val="008C53"/>
              </a:buClr>
              <a:buNone/>
              <a:defRPr/>
            </a:pPr>
            <a:r>
              <a:rPr lang="fr-ca" sz="1500" b="0" i="0" u="none" baseline="0">
                <a:solidFill>
                  <a:srgbClr val="008C53"/>
                </a:solidFill>
                <a:latin typeface="Calibri"/>
                <a:ea typeface="ＭＳ Ｐゴシック"/>
                <a:cs typeface="Calibri"/>
                <a:sym typeface="Gotham-Medium"/>
              </a:rPr>
              <a:t>| </a:t>
            </a:r>
            <a:r>
              <a:rPr lang="fr-ca" sz="1500" b="0" i="0" u="none" baseline="0">
                <a:solidFill>
                  <a:schemeClr val="accent6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Offre de service complète et harmonisée </a:t>
            </a:r>
            <a:r>
              <a:rPr lang="fr-ca" sz="1500" b="0" i="0" u="none" baseline="0">
                <a:solidFill>
                  <a:srgbClr val="008C53"/>
                </a:solidFill>
                <a:latin typeface="Calibri"/>
                <a:ea typeface="ＭＳ Ｐゴシック"/>
                <a:cs typeface="Calibri"/>
                <a:sym typeface="Gotham-Medium"/>
              </a:rPr>
              <a:t>|</a:t>
            </a:r>
            <a:endParaRPr lang="fr-ca" sz="1500" dirty="0">
              <a:solidFill>
                <a:srgbClr val="000000"/>
              </a:solidFill>
            </a:endParaRPr>
          </a:p>
          <a:p>
            <a:pPr marL="0" indent="0" algn="ctr" rtl="0">
              <a:lnSpc>
                <a:spcPct val="90000"/>
              </a:lnSpc>
              <a:spcAft>
                <a:spcPts val="1800"/>
              </a:spcAft>
              <a:buClr>
                <a:srgbClr val="008C53"/>
              </a:buClr>
              <a:buNone/>
              <a:defRPr/>
            </a:pPr>
            <a:r>
              <a:rPr lang="fr-ca" sz="1500" b="0" i="0" u="none" baseline="0">
                <a:solidFill>
                  <a:srgbClr val="008C53"/>
                </a:solidFill>
                <a:latin typeface="Calibri"/>
                <a:ea typeface="ＭＳ Ｐゴシック"/>
                <a:cs typeface="Calibri"/>
                <a:sym typeface="Gotham-Medium"/>
              </a:rPr>
              <a:t>| </a:t>
            </a:r>
            <a:r>
              <a:rPr lang="fr-ca" sz="1500" b="0" i="0" u="none" baseline="0">
                <a:solidFill>
                  <a:schemeClr val="accent6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Disponibilité et accessibilité accrues </a:t>
            </a:r>
            <a:r>
              <a:rPr lang="fr-ca" sz="1500" b="0" i="0" u="none" baseline="0">
                <a:solidFill>
                  <a:srgbClr val="008C53"/>
                </a:solidFill>
                <a:latin typeface="Calibri"/>
                <a:ea typeface="ＭＳ Ｐゴシック"/>
                <a:cs typeface="Calibri"/>
                <a:sym typeface="Gotham-Medium"/>
              </a:rPr>
              <a:t>|</a:t>
            </a:r>
            <a:endParaRPr lang="fr-ca" sz="1500" dirty="0">
              <a:solidFill>
                <a:srgbClr val="000000"/>
              </a:solidFill>
            </a:endParaRPr>
          </a:p>
          <a:p>
            <a:pPr marL="0" indent="0" algn="ctr" rtl="0">
              <a:lnSpc>
                <a:spcPct val="90000"/>
              </a:lnSpc>
              <a:spcAft>
                <a:spcPts val="1800"/>
              </a:spcAft>
              <a:buClr>
                <a:srgbClr val="008C53"/>
              </a:buClr>
              <a:buNone/>
              <a:defRPr/>
            </a:pPr>
            <a:r>
              <a:rPr lang="fr-ca" sz="1500" b="0" i="0" u="none" baseline="0">
                <a:solidFill>
                  <a:schemeClr val="accent1"/>
                </a:solidFill>
                <a:latin typeface="Calibri"/>
                <a:ea typeface="ＭＳ Ｐゴシック"/>
                <a:cs typeface="Calibri"/>
              </a:rPr>
              <a:t>| </a:t>
            </a:r>
            <a:r>
              <a:rPr lang="fr-ca" sz="1500" b="0" i="0" u="none" baseline="0">
                <a:solidFill>
                  <a:schemeClr val="accent6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Simplification de la vie des entrepreneurs, qui peuvent être servis dans le canal de leur choix </a:t>
            </a:r>
            <a:r>
              <a:rPr lang="fr-ca" sz="1500" b="0" i="0" u="none" baseline="0">
                <a:solidFill>
                  <a:schemeClr val="accent1"/>
                </a:solidFill>
                <a:latin typeface="Calibri"/>
                <a:ea typeface="ＭＳ Ｐゴシック"/>
                <a:cs typeface="Calibri"/>
              </a:rPr>
              <a:t>|</a:t>
            </a:r>
          </a:p>
          <a:p>
            <a:pPr marL="0" indent="0" algn="ctr" rtl="0">
              <a:lnSpc>
                <a:spcPct val="90000"/>
              </a:lnSpc>
              <a:spcAft>
                <a:spcPts val="1800"/>
              </a:spcAft>
              <a:buClr>
                <a:srgbClr val="008C53"/>
              </a:buClr>
              <a:buNone/>
              <a:defRPr/>
            </a:pPr>
            <a:r>
              <a:rPr lang="fr-ca" sz="1500" b="0" i="0" u="none" baseline="0">
                <a:solidFill>
                  <a:schemeClr val="accent1"/>
                </a:solidFill>
                <a:latin typeface="Calibri"/>
                <a:ea typeface="ＭＳ Ｐゴシック"/>
                <a:cs typeface="Calibri"/>
              </a:rPr>
              <a:t>| </a:t>
            </a:r>
            <a:r>
              <a:rPr lang="fr-ca" sz="1500" b="0" i="0" u="none" baseline="0">
                <a:solidFill>
                  <a:schemeClr val="accent6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Prise en charge optimale </a:t>
            </a:r>
            <a:br>
              <a:rPr lang="fr-ca" sz="1500">
                <a:latin typeface="Calibri"/>
                <a:ea typeface="ＭＳ Ｐゴシック"/>
                <a:cs typeface="Calibri"/>
              </a:rPr>
            </a:br>
            <a:r>
              <a:rPr lang="fr-ca" sz="1500" b="0" i="0" u="none" baseline="0">
                <a:solidFill>
                  <a:schemeClr val="accent6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pour l’ensemble des membres </a:t>
            </a:r>
            <a:r>
              <a:rPr lang="fr-ca" sz="1500" b="0" i="0" u="none" baseline="0">
                <a:solidFill>
                  <a:schemeClr val="accent1"/>
                </a:solidFill>
                <a:latin typeface="Calibri"/>
                <a:ea typeface="ＭＳ Ｐゴシック"/>
                <a:cs typeface="Calibri"/>
              </a:rPr>
              <a:t>|</a:t>
            </a:r>
          </a:p>
          <a:p>
            <a:pPr marL="185420" indent="-185420" algn="ctr" rtl="0">
              <a:lnSpc>
                <a:spcPct val="90000"/>
              </a:lnSpc>
              <a:spcAft>
                <a:spcPts val="1800"/>
              </a:spcAft>
              <a:buNone/>
              <a:defRPr/>
            </a:pPr>
            <a:r>
              <a:rPr lang="fr-ca" sz="1500" b="0" i="0" u="none" baseline="0">
                <a:solidFill>
                  <a:schemeClr val="accent1"/>
                </a:solidFill>
                <a:latin typeface="Calibri"/>
                <a:ea typeface="ＭＳ Ｐゴシック"/>
                <a:cs typeface="Calibri"/>
              </a:rPr>
              <a:t>|</a:t>
            </a:r>
            <a:r>
              <a:rPr lang="fr-ca" sz="1500" b="0" i="0" u="none" baseline="0">
                <a:solidFill>
                  <a:schemeClr val="accent6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 Accompagnement bonifié par l’équipe Acquisition et Démarrage </a:t>
            </a:r>
            <a:r>
              <a:rPr lang="fr-ca" sz="1500" b="0" i="0" u="none" baseline="0">
                <a:solidFill>
                  <a:schemeClr val="accent1"/>
                </a:solidFill>
                <a:latin typeface="Calibri"/>
                <a:ea typeface="ＭＳ Ｐゴシック"/>
                <a:cs typeface="Calibri"/>
              </a:rPr>
              <a:t>|</a:t>
            </a:r>
            <a:endParaRPr lang="fr-ca" dirty="0"/>
          </a:p>
        </p:txBody>
      </p:sp>
      <p:pic>
        <p:nvPicPr>
          <p:cNvPr id="15" name="Image 14" descr="Une image contenant personne, intérieur, mur. Employé qui travaille dans un centre de contact client.&#10;&#10;Description générée automatiquement">
            <a:extLst>
              <a:ext uri="{FF2B5EF4-FFF2-40B4-BE49-F238E27FC236}">
                <a16:creationId xmlns:a16="http://schemas.microsoft.com/office/drawing/2014/main" id="{AE12E2B3-495A-4B16-B0C6-7023295FB37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5" cstate="screen">
            <a:alphaModFix amt="6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506" r="321" b="46065"/>
          <a:stretch/>
        </p:blipFill>
        <p:spPr>
          <a:xfrm>
            <a:off x="7684594" y="1139054"/>
            <a:ext cx="3942255" cy="1064969"/>
          </a:xfrm>
          <a:prstGeom prst="rect">
            <a:avLst/>
          </a:prstGeom>
        </p:spPr>
      </p:pic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50862E5-D4E4-48D7-93A8-5CFFCCDC5C13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25257" y="1222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6" imgW="324" imgH="324" progId="TCLayout.ActiveDocument.1">
                  <p:embed/>
                </p:oleObj>
              </mc:Choice>
              <mc:Fallback>
                <p:oleObj name="Diapositive think-cell" r:id="rId16" imgW="324" imgH="324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50862E5-D4E4-48D7-93A8-5CFFCCDC5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25257" y="1222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id="{CF8582C3-C8DE-4A35-B55E-CF14CA206C26}"/>
              </a:ext>
            </a:extLst>
          </p:cNvPr>
          <p:cNvSpPr txBox="1"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1207192" y="475784"/>
            <a:ext cx="10672465" cy="684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39587" bIns="0" numCol="1" anchor="t" anchorCtr="0" compatLnSpc="1">
            <a:prstTxWarp prst="textNoShape">
              <a:avLst/>
            </a:prstTxWarp>
            <a:normAutofit fontScale="90000"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8B4B"/>
                </a:solidFill>
                <a:latin typeface="+mj-lt"/>
                <a:ea typeface="ＭＳ Ｐゴシック" pitchFamily="-84" charset="-128"/>
                <a:cs typeface="ＭＳ Ｐゴシック" charset="0"/>
                <a:sym typeface="Gotham-Medium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8B4B"/>
                </a:solidFill>
                <a:latin typeface="Arial" charset="0"/>
                <a:ea typeface="ＭＳ Ｐゴシック" pitchFamily="-84" charset="-128"/>
                <a:cs typeface="ＭＳ Ｐゴシック" charset="0"/>
                <a:sym typeface="Gotham-Medium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8B4B"/>
                </a:solidFill>
                <a:latin typeface="Arial" charset="0"/>
                <a:ea typeface="ＭＳ Ｐゴシック" pitchFamily="-84" charset="-128"/>
                <a:cs typeface="ＭＳ Ｐゴシック" charset="0"/>
                <a:sym typeface="Gotham-Medium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8B4B"/>
                </a:solidFill>
                <a:latin typeface="Arial" charset="0"/>
                <a:ea typeface="ＭＳ Ｐゴシック" pitchFamily="-84" charset="-128"/>
                <a:cs typeface="ＭＳ Ｐゴシック" charset="0"/>
                <a:sym typeface="Gotham-Medium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8B4B"/>
                </a:solidFill>
                <a:latin typeface="Arial" charset="0"/>
                <a:ea typeface="ＭＳ Ｐゴシック" pitchFamily="-84" charset="-128"/>
                <a:cs typeface="ＭＳ Ｐゴシック" charset="0"/>
                <a:sym typeface="Gotham-Medium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8B4B"/>
                </a:solidFill>
                <a:latin typeface="Arial" charset="0"/>
                <a:ea typeface="ＭＳ Ｐゴシック" charset="0"/>
                <a:sym typeface="Gotham-Medium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8B4B"/>
                </a:solidFill>
                <a:latin typeface="Arial" charset="0"/>
                <a:ea typeface="ＭＳ Ｐゴシック" charset="0"/>
                <a:sym typeface="Gotham-Medium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8B4B"/>
                </a:solidFill>
                <a:latin typeface="Arial" charset="0"/>
                <a:ea typeface="ＭＳ Ｐゴシック" charset="0"/>
                <a:sym typeface="Gotham-Medium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008B4B"/>
                </a:solidFill>
                <a:latin typeface="Arial" charset="0"/>
                <a:ea typeface="ＭＳ Ｐゴシック" charset="0"/>
                <a:sym typeface="Gotham-Medium" charset="0"/>
              </a:defRPr>
            </a:lvl9pPr>
          </a:lstStyle>
          <a:p>
            <a:pPr algn="l" rtl="0" eaLnBrk="1" hangingPunct="1"/>
            <a:r>
              <a:rPr lang="fr-ca" sz="2800" b="1" i="0" u="none" baseline="0" dirty="0">
                <a:solidFill>
                  <a:schemeClr val="tx1"/>
                </a:solidFill>
                <a:ea typeface="ＭＳ Ｐゴシック" pitchFamily="34" charset="-128"/>
              </a:rPr>
              <a:t>Services aux entreprises</a:t>
            </a:r>
          </a:p>
          <a:p>
            <a:pPr algn="l" rtl="0" eaLnBrk="1" hangingPunct="1"/>
            <a:r>
              <a:rPr lang="fr-ca" sz="2400" b="1" i="0" u="none" baseline="0" dirty="0">
                <a:solidFill>
                  <a:schemeClr val="accent1"/>
                </a:solidFill>
                <a:ea typeface="ＭＳ Ｐゴシック" pitchFamily="34" charset="-128"/>
              </a:rPr>
              <a:t>Le Centre d’affaires, Services aux entreprises </a:t>
            </a:r>
            <a:br>
              <a:rPr lang="fr-ca" sz="2400" dirty="0">
                <a:solidFill>
                  <a:schemeClr val="accent1"/>
                </a:solidFill>
                <a:ea typeface="ＭＳ Ｐゴシック" pitchFamily="34" charset="-128"/>
              </a:rPr>
            </a:br>
            <a:r>
              <a:rPr lang="fr-ca" sz="2400" b="1" i="0" u="none" baseline="0" dirty="0">
                <a:solidFill>
                  <a:schemeClr val="accent1"/>
                </a:solidFill>
                <a:ea typeface="ＭＳ Ｐゴシック" pitchFamily="34" charset="-128"/>
              </a:rPr>
              <a:t>en un coup d’œil </a:t>
            </a:r>
            <a:endParaRPr lang="fr-ca" sz="2400" b="0" i="1" dirty="0">
              <a:solidFill>
                <a:schemeClr val="accent1"/>
              </a:solidFill>
              <a:ea typeface="ＭＳ Ｐゴシック" pitchFamily="34" charset="-128"/>
            </a:endParaRPr>
          </a:p>
        </p:txBody>
      </p:sp>
      <p:sp>
        <p:nvSpPr>
          <p:cNvPr id="24" name="Espace réservé du contenu 23">
            <a:extLst>
              <a:ext uri="{FF2B5EF4-FFF2-40B4-BE49-F238E27FC236}">
                <a16:creationId xmlns:a16="http://schemas.microsoft.com/office/drawing/2014/main" id="{D7F02D7E-E305-40EC-9ECD-38D5391BE6AB}"/>
              </a:ext>
            </a:extLst>
          </p:cNvPr>
          <p:cNvSpPr>
            <a:spLocks noGrp="1"/>
          </p:cNvSpPr>
          <p:nvPr>
            <p:ph sz="half" idx="4294967295"/>
            <p:custDataLst>
              <p:tags r:id="rId7"/>
            </p:custDataLst>
          </p:nvPr>
        </p:nvSpPr>
        <p:spPr>
          <a:xfrm>
            <a:off x="1361819" y="2009448"/>
            <a:ext cx="3857881" cy="772868"/>
          </a:xfrm>
          <a:solidFill>
            <a:schemeClr val="bg1"/>
          </a:solidFill>
        </p:spPr>
        <p:txBody>
          <a:bodyPr/>
          <a:lstStyle/>
          <a:p>
            <a:pPr marL="0" indent="0" algn="l" rtl="0">
              <a:lnSpc>
                <a:spcPct val="80000"/>
              </a:lnSpc>
              <a:buNone/>
            </a:pPr>
            <a:r>
              <a:rPr lang="fr-ca" sz="2600" b="1" i="0" u="none" baseline="0" dirty="0">
                <a:solidFill>
                  <a:schemeClr val="accent3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1 2</a:t>
            </a:r>
            <a:r>
              <a:rPr lang="fr-ca" sz="2600" b="1" dirty="0">
                <a:solidFill>
                  <a:schemeClr val="accent3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3</a:t>
            </a:r>
            <a:r>
              <a:rPr lang="fr-ca" sz="2600" b="1" i="0" u="none" baseline="0" dirty="0">
                <a:solidFill>
                  <a:schemeClr val="accent3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0 </a:t>
            </a:r>
            <a:r>
              <a:rPr lang="fr-ca" sz="2600" b="0" i="0" u="none" baseline="0" dirty="0">
                <a:solidFill>
                  <a:schemeClr val="accent3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employés </a:t>
            </a:r>
            <a:br>
              <a:rPr lang="fr-ca" sz="2600" dirty="0">
                <a:latin typeface="Calibri"/>
                <a:ea typeface="ＭＳ Ｐゴシック"/>
                <a:cs typeface="Calibri"/>
              </a:rPr>
            </a:br>
            <a:r>
              <a:rPr lang="fr-ca" sz="2400" b="0" i="0" u="none" baseline="0" dirty="0">
                <a:solidFill>
                  <a:schemeClr val="accent3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au service des entrepreneurs</a:t>
            </a:r>
            <a:endParaRPr lang="fr-ca" sz="2600" dirty="0">
              <a:solidFill>
                <a:schemeClr val="accent3">
                  <a:lumMod val="75000"/>
                </a:schemeClr>
              </a:solidFill>
              <a:latin typeface="Calibri"/>
              <a:ea typeface="ＭＳ Ｐゴシック"/>
              <a:cs typeface="Calibri"/>
            </a:endParaRPr>
          </a:p>
        </p:txBody>
      </p:sp>
      <p:sp>
        <p:nvSpPr>
          <p:cNvPr id="21" name="Text Box 7">
            <a:extLst>
              <a:ext uri="{FF2B5EF4-FFF2-40B4-BE49-F238E27FC236}">
                <a16:creationId xmlns:a16="http://schemas.microsoft.com/office/drawing/2014/main" id="{A1667259-6EBB-4493-BEAB-086755C9ADE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176684" y="5683755"/>
            <a:ext cx="6490209" cy="37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square" lIns="62616" tIns="31244" rIns="62616" bIns="31244" anchor="t">
            <a:spAutoFit/>
          </a:bodyPr>
          <a:lstStyle>
            <a:lvl1pPr eaLnBrk="0" hangingPunct="0">
              <a:defRPr sz="30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Arial" pitchFamily="34" charset="0"/>
              </a:defRPr>
            </a:lvl1pPr>
            <a:lvl2pPr marL="742950" indent="-287338" eaLnBrk="0" hangingPunct="0">
              <a:defRPr sz="30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Arial" pitchFamily="34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Arial" pitchFamily="34" charset="0"/>
              </a:defRPr>
            </a:lvl3pPr>
            <a:lvl4pPr marL="1600200" indent="-230188" eaLnBrk="0" hangingPunct="0">
              <a:defRPr sz="30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Arial" pitchFamily="34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itchFamily="34" charset="0"/>
                <a:ea typeface="MS PGothic" pitchFamily="34" charset="-128"/>
                <a:sym typeface="Arial" pitchFamily="34" charset="0"/>
              </a:defRPr>
            </a:lvl9pPr>
          </a:lstStyle>
          <a:p>
            <a:pPr algn="l" rtl="0" eaLnBrk="1" hangingPunct="1">
              <a:spcBef>
                <a:spcPct val="30000"/>
              </a:spcBef>
              <a:defRPr/>
            </a:pPr>
            <a:r>
              <a:rPr lang="fr-ca" sz="1000" b="0" i="0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MS PGothic"/>
                <a:cs typeface="Calibri"/>
              </a:rPr>
              <a:t>Données au 30 avril 2024 </a:t>
            </a:r>
            <a:br>
              <a:rPr lang="fr-ca" sz="10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MS PGothic"/>
                <a:cs typeface="Calibri"/>
              </a:rPr>
            </a:br>
            <a:r>
              <a:rPr lang="fr-ca" sz="1000" b="0" i="0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MS PGothic"/>
                <a:cs typeface="Calibri"/>
              </a:rPr>
              <a:t>Source : </a:t>
            </a:r>
            <a:r>
              <a:rPr lang="fr-ca" sz="1000" b="0" i="0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lt"/>
                <a:cs typeface="+mj-lt"/>
              </a:rPr>
              <a:t>Vice-présidence Réseaux des Centres Desjardins Entreprises et Centre d’affaires, Services aux entreprises</a:t>
            </a:r>
          </a:p>
        </p:txBody>
      </p:sp>
      <p:sp>
        <p:nvSpPr>
          <p:cNvPr id="27" name="Espace réservé du contenu 23">
            <a:extLst>
              <a:ext uri="{FF2B5EF4-FFF2-40B4-BE49-F238E27FC236}">
                <a16:creationId xmlns:a16="http://schemas.microsoft.com/office/drawing/2014/main" id="{61710219-7FAA-4142-B8EE-7F22C4275D4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386047" y="2901128"/>
            <a:ext cx="4995704" cy="1919764"/>
          </a:xfrm>
          <a:prstGeom prst="rect">
            <a:avLst/>
          </a:prstGeom>
          <a:noFill/>
          <a:ln>
            <a:noFill/>
          </a:ln>
        </p:spPr>
        <p:txBody>
          <a:bodyPr vert="horz" wrap="square" lIns="52201" tIns="52201" rIns="91690" bIns="52201" numCol="1" anchor="t" anchorCtr="0" compatLnSpc="1">
            <a:prstTxWarp prst="textNoShape">
              <a:avLst/>
            </a:prstTxWarp>
            <a:spAutoFit/>
          </a:bodyPr>
          <a:lstStyle>
            <a:lvl1pPr marL="264421" indent="-264421" algn="l" defTabSz="774469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60000"/>
              </a:spcAft>
              <a:buClr>
                <a:schemeClr val="accent1"/>
              </a:buClr>
              <a:buSzPct val="110000"/>
              <a:buChar char="•"/>
              <a:defRPr sz="28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ＭＳ Ｐゴシック" pitchFamily="-84" charset="-128"/>
                <a:cs typeface="Calibri" panose="020F0502020204030204" pitchFamily="34" charset="0"/>
                <a:sym typeface="Gotham-Medium"/>
              </a:defRPr>
            </a:lvl1pPr>
            <a:lvl2pPr marL="692404" indent="-253573" algn="l" defTabSz="774469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50000"/>
              </a:spcAft>
              <a:buClr>
                <a:schemeClr val="accent4">
                  <a:lumMod val="75000"/>
                </a:schemeClr>
              </a:buClr>
              <a:buSzPct val="80000"/>
              <a:buFont typeface="Wingdings" pitchFamily="2" charset="2"/>
              <a:buChar char="§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ＭＳ Ｐゴシック" pitchFamily="-84" charset="-128"/>
                <a:cs typeface="Calibri" panose="020F0502020204030204" pitchFamily="34" charset="0"/>
                <a:sym typeface="Gotham-Medium"/>
              </a:defRPr>
            </a:lvl2pPr>
            <a:lvl3pPr marL="1055870" indent="-190086" algn="l" defTabSz="774469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40000"/>
              </a:spcAft>
              <a:buClr>
                <a:schemeClr val="accent2"/>
              </a:buClr>
              <a:buSzPct val="110000"/>
              <a:buChar char="•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ＭＳ Ｐゴシック" pitchFamily="-84" charset="-128"/>
                <a:cs typeface="Calibri" panose="020F0502020204030204" pitchFamily="34" charset="0"/>
                <a:sym typeface="Gotham-Book" pitchFamily="-108" charset="0"/>
              </a:defRPr>
            </a:lvl3pPr>
            <a:lvl4pPr marL="1497914" indent="-185375" algn="l" defTabSz="774469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>
                <a:schemeClr val="accent3"/>
              </a:buClr>
              <a:buSzPct val="80000"/>
              <a:buFont typeface="Wingdings" pitchFamily="2" charset="2"/>
              <a:buChar char="§"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ＭＳ Ｐゴシック" pitchFamily="-84" charset="-128"/>
                <a:cs typeface="Calibri" panose="020F0502020204030204" pitchFamily="34" charset="0"/>
                <a:sym typeface="Gotham-Book" pitchFamily="-108" charset="0"/>
              </a:defRPr>
            </a:lvl4pPr>
            <a:lvl5pPr marL="1816312" indent="-145384" algn="l" defTabSz="774469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60000"/>
              </a:spcAft>
              <a:buClr>
                <a:schemeClr val="accent4"/>
              </a:buClr>
              <a:buSzPct val="105000"/>
              <a:buChar char="•"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ＭＳ Ｐゴシック" pitchFamily="-84" charset="-128"/>
                <a:cs typeface="Calibri" panose="020F0502020204030204" pitchFamily="34" charset="0"/>
                <a:sym typeface="Gotham-Book" pitchFamily="-108" charset="0"/>
              </a:defRPr>
            </a:lvl5pPr>
            <a:lvl6pPr marL="2261511" indent="-145384" algn="l" defTabSz="774469" rtl="0" fontAlgn="base">
              <a:lnSpc>
                <a:spcPct val="95000"/>
              </a:lnSpc>
              <a:spcBef>
                <a:spcPct val="0"/>
              </a:spcBef>
              <a:spcAft>
                <a:spcPct val="60000"/>
              </a:spcAft>
              <a:buClr>
                <a:srgbClr val="008B4B"/>
              </a:buClr>
              <a:buSzPct val="105000"/>
              <a:buChar char="•"/>
              <a:defRPr sz="1800">
                <a:solidFill>
                  <a:schemeClr val="accent2"/>
                </a:solidFill>
                <a:latin typeface="+mn-lt"/>
                <a:ea typeface="+mn-ea"/>
                <a:sym typeface="Gotham-Book" charset="0"/>
              </a:defRPr>
            </a:lvl6pPr>
            <a:lvl7pPr marL="2706734" indent="-145384" algn="l" defTabSz="774469" rtl="0" fontAlgn="base">
              <a:lnSpc>
                <a:spcPct val="95000"/>
              </a:lnSpc>
              <a:spcBef>
                <a:spcPct val="0"/>
              </a:spcBef>
              <a:spcAft>
                <a:spcPct val="60000"/>
              </a:spcAft>
              <a:buClr>
                <a:srgbClr val="008B4B"/>
              </a:buClr>
              <a:buSzPct val="105000"/>
              <a:buChar char="•"/>
              <a:defRPr sz="1800">
                <a:solidFill>
                  <a:schemeClr val="accent2"/>
                </a:solidFill>
                <a:latin typeface="+mn-lt"/>
                <a:ea typeface="+mn-ea"/>
                <a:sym typeface="Gotham-Book" charset="0"/>
              </a:defRPr>
            </a:lvl7pPr>
            <a:lvl8pPr marL="3151875" indent="-145384" algn="l" defTabSz="774469" rtl="0" fontAlgn="base">
              <a:lnSpc>
                <a:spcPct val="95000"/>
              </a:lnSpc>
              <a:spcBef>
                <a:spcPct val="0"/>
              </a:spcBef>
              <a:spcAft>
                <a:spcPct val="60000"/>
              </a:spcAft>
              <a:buClr>
                <a:srgbClr val="008B4B"/>
              </a:buClr>
              <a:buSzPct val="105000"/>
              <a:buChar char="•"/>
              <a:defRPr sz="1800">
                <a:solidFill>
                  <a:schemeClr val="accent2"/>
                </a:solidFill>
                <a:latin typeface="+mn-lt"/>
                <a:ea typeface="+mn-ea"/>
                <a:sym typeface="Gotham-Book" charset="0"/>
              </a:defRPr>
            </a:lvl8pPr>
            <a:lvl9pPr marL="3597077" indent="-145384" algn="l" defTabSz="774469" rtl="0" fontAlgn="base">
              <a:lnSpc>
                <a:spcPct val="95000"/>
              </a:lnSpc>
              <a:spcBef>
                <a:spcPct val="0"/>
              </a:spcBef>
              <a:spcAft>
                <a:spcPct val="60000"/>
              </a:spcAft>
              <a:buClr>
                <a:srgbClr val="008B4B"/>
              </a:buClr>
              <a:buSzPct val="105000"/>
              <a:buChar char="•"/>
              <a:defRPr sz="1800">
                <a:solidFill>
                  <a:schemeClr val="accent2"/>
                </a:solidFill>
                <a:latin typeface="+mn-lt"/>
                <a:ea typeface="+mn-ea"/>
                <a:sym typeface="Gotham-Book" charset="0"/>
              </a:defRPr>
            </a:lvl9pPr>
          </a:lstStyle>
          <a:p>
            <a:pPr marL="264160" indent="-264160" algn="l" rtl="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fr-ca" sz="1800" b="1" dirty="0">
                <a:solidFill>
                  <a:schemeClr val="accent3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95</a:t>
            </a:r>
            <a:r>
              <a:rPr lang="fr-ca" sz="1800" b="0" i="0" u="none" baseline="0" dirty="0">
                <a:latin typeface="Calibri"/>
                <a:ea typeface="ＭＳ Ｐゴシック"/>
                <a:cs typeface="Calibri"/>
              </a:rPr>
              <a:t> gestionnaires</a:t>
            </a:r>
            <a:endParaRPr lang="fr-ca" sz="1800" kern="0" dirty="0"/>
          </a:p>
          <a:p>
            <a:pPr marL="264160" indent="-264160" algn="l" rtl="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fr-ca" sz="1800" b="0" i="0" u="none" baseline="0" dirty="0">
                <a:latin typeface="Calibri"/>
                <a:ea typeface="ＭＳ Ｐゴシック"/>
                <a:cs typeface="Calibri"/>
              </a:rPr>
              <a:t>Plus de </a:t>
            </a:r>
            <a:r>
              <a:rPr lang="fr-ca" sz="1800" b="1" i="0" u="none" baseline="0" dirty="0">
                <a:solidFill>
                  <a:schemeClr val="accent3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2,4 M</a:t>
            </a:r>
            <a:r>
              <a:rPr lang="fr-ca" sz="1800" b="1" i="0" u="none" baseline="0" dirty="0">
                <a:latin typeface="Calibri"/>
                <a:ea typeface="ＭＳ Ｐゴシック"/>
                <a:cs typeface="Calibri"/>
              </a:rPr>
              <a:t> </a:t>
            </a:r>
            <a:r>
              <a:rPr lang="fr-ca" sz="1800" b="0" i="0" u="none" baseline="0" dirty="0">
                <a:latin typeface="Calibri"/>
                <a:ea typeface="ＭＳ Ｐゴシック"/>
                <a:cs typeface="Calibri"/>
              </a:rPr>
              <a:t>d’interactions avec </a:t>
            </a:r>
            <a:br>
              <a:rPr lang="fr-ca" sz="1800" kern="0" dirty="0">
                <a:latin typeface="Calibri"/>
                <a:ea typeface="ＭＳ Ｐゴシック"/>
                <a:cs typeface="Calibri"/>
              </a:rPr>
            </a:br>
            <a:r>
              <a:rPr lang="fr-ca" sz="1800" b="0" i="0" u="none" baseline="0" dirty="0">
                <a:latin typeface="Calibri"/>
                <a:ea typeface="ＭＳ Ｐゴシック"/>
                <a:cs typeface="Calibri"/>
              </a:rPr>
              <a:t>les membres et clients annuellement</a:t>
            </a:r>
          </a:p>
          <a:p>
            <a:pPr marL="264160" indent="-264160" algn="l" rtl="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fr-ca" sz="1800" b="0" i="0" u="none" baseline="0" dirty="0">
                <a:latin typeface="Calibri"/>
                <a:ea typeface="ＭＳ Ｐゴシック"/>
                <a:cs typeface="Calibri"/>
              </a:rPr>
              <a:t>Contributions à plus de </a:t>
            </a:r>
            <a:r>
              <a:rPr lang="fr-ca" sz="1800" b="1" dirty="0">
                <a:solidFill>
                  <a:schemeClr val="accent3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25</a:t>
            </a:r>
            <a:r>
              <a:rPr lang="fr-ca" sz="1800" b="1" i="0" u="none" baseline="0" dirty="0">
                <a:solidFill>
                  <a:schemeClr val="accent3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0</a:t>
            </a:r>
            <a:r>
              <a:rPr lang="fr-ca" sz="1800" b="1" i="0" u="none" baseline="0" dirty="0">
                <a:latin typeface="Calibri"/>
                <a:ea typeface="ＭＳ Ｐゴシック"/>
                <a:cs typeface="Calibri"/>
              </a:rPr>
              <a:t> </a:t>
            </a:r>
            <a:r>
              <a:rPr lang="fr-ca" sz="1800" b="0" i="0" u="none" baseline="0" dirty="0">
                <a:latin typeface="Calibri"/>
                <a:ea typeface="ＭＳ Ｐゴシック"/>
                <a:cs typeface="Calibri"/>
              </a:rPr>
              <a:t>projets et initiatives</a:t>
            </a:r>
          </a:p>
          <a:p>
            <a:pPr marL="264160" indent="-264160" algn="l" rtl="0">
              <a:buClr>
                <a:schemeClr val="accent3"/>
              </a:buClr>
              <a:buFont typeface="Arial" panose="020B0604020202020204" pitchFamily="34" charset="0"/>
              <a:buChar char="•"/>
            </a:pPr>
            <a:r>
              <a:rPr lang="fr-ca" sz="1800" b="0" i="0" u="none" baseline="0" dirty="0">
                <a:latin typeface="Calibri"/>
                <a:ea typeface="ＭＳ Ｐゴシック"/>
                <a:cs typeface="Calibri"/>
              </a:rPr>
              <a:t>Plus de </a:t>
            </a:r>
            <a:r>
              <a:rPr lang="fr-ca" sz="1800" b="1" dirty="0">
                <a:solidFill>
                  <a:schemeClr val="accent3">
                    <a:lumMod val="75000"/>
                  </a:schemeClr>
                </a:solidFill>
                <a:latin typeface="Calibri"/>
                <a:ea typeface="ＭＳ Ｐゴシック"/>
                <a:cs typeface="Calibri"/>
              </a:rPr>
              <a:t>285 000 </a:t>
            </a:r>
            <a:r>
              <a:rPr lang="fr-ca" sz="1800" b="0" i="0" u="none" baseline="0" dirty="0">
                <a:latin typeface="Calibri"/>
                <a:ea typeface="ＭＳ Ｐゴシック"/>
                <a:cs typeface="Calibri"/>
              </a:rPr>
              <a:t>membres sous gestion</a:t>
            </a:r>
          </a:p>
        </p:txBody>
      </p:sp>
      <p:pic>
        <p:nvPicPr>
          <p:cNvPr id="8" name="JumpBack2" descr="retour1">
            <a:hlinkClick r:id="" action="ppaction://macro?name=JumpBackToMenu"/>
            <a:extLst>
              <a:ext uri="{FF2B5EF4-FFF2-40B4-BE49-F238E27FC236}">
                <a16:creationId xmlns:a16="http://schemas.microsoft.com/office/drawing/2014/main" id="{0AC5793C-8ED6-3939-3637-F7906B6B4B38}"/>
              </a:ext>
            </a:extLst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8" cstate="screen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3479" y="6328610"/>
            <a:ext cx="296902" cy="296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JumpBack1" descr="retour1">
            <a:hlinkClick r:id="" action="ppaction://macro?name=JumpBackToMenu"/>
            <a:extLst>
              <a:ext uri="{FF2B5EF4-FFF2-40B4-BE49-F238E27FC236}">
                <a16:creationId xmlns:a16="http://schemas.microsoft.com/office/drawing/2014/main" id="{402998AD-0428-8219-C266-39E22788828E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0" cstate="screen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6780" y="6328610"/>
            <a:ext cx="296902" cy="296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ackWordArt2">
            <a:extLst>
              <a:ext uri="{FF2B5EF4-FFF2-40B4-BE49-F238E27FC236}">
                <a16:creationId xmlns:a16="http://schemas.microsoft.com/office/drawing/2014/main" id="{40AB6601-8F04-6811-AE25-36BCE989A4C4}"/>
              </a:ext>
            </a:extLst>
          </p:cNvPr>
          <p:cNvSpPr>
            <a:spLocks noChangeShapeType="1" noTextEdit="1"/>
          </p:cNvSpPr>
          <p:nvPr>
            <p:custDataLst>
              <p:tags r:id="rId12"/>
            </p:custDataLst>
          </p:nvPr>
        </p:nvSpPr>
        <p:spPr bwMode="auto">
          <a:xfrm>
            <a:off x="1645481" y="6286191"/>
            <a:ext cx="392895" cy="41410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spcFirstLastPara="1" wrap="none" lIns="62639" tIns="31256" rIns="62639" bIns="31256" numCol="1" fromWordArt="1">
            <a:prstTxWarp prst="textArchUp">
              <a:avLst>
                <a:gd name="adj" fmla="val 10800000"/>
              </a:avLst>
            </a:prstTxWarp>
          </a:bodyPr>
          <a:lstStyle/>
          <a:p>
            <a:pPr algn="ctr" defTabSz="627184" rtl="0"/>
            <a:r>
              <a:rPr lang="fr-ca" sz="702" b="1" i="0" u="none" baseline="0">
                <a:solidFill>
                  <a:srgbClr val="C0C0C0"/>
                </a:solidFill>
                <a:latin typeface="Calibri" panose="020F0502020204030204" pitchFamily="34" charset="0"/>
                <a:ea typeface="MS PGothic"/>
              </a:rPr>
              <a:t>TABLE DES MATIÈRES</a:t>
            </a:r>
          </a:p>
        </p:txBody>
      </p:sp>
      <p:sp>
        <p:nvSpPr>
          <p:cNvPr id="11" name="BackWordArt1">
            <a:extLst>
              <a:ext uri="{FF2B5EF4-FFF2-40B4-BE49-F238E27FC236}">
                <a16:creationId xmlns:a16="http://schemas.microsoft.com/office/drawing/2014/main" id="{5125236B-F3AB-8115-A179-895EBAD2E386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1148783" y="6286191"/>
            <a:ext cx="394011" cy="41410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spcFirstLastPara="1" wrap="none" lIns="62639" tIns="31256" rIns="62639" bIns="31256" numCol="1" fromWordArt="1">
            <a:prstTxWarp prst="textArchUp">
              <a:avLst/>
            </a:prstTxWarp>
          </a:bodyPr>
          <a:lstStyle/>
          <a:p>
            <a:pPr algn="ctr" defTabSz="627184" rtl="0"/>
            <a:r>
              <a:rPr lang="fr-ca" sz="844" b="1" i="0" u="none" baseline="0">
                <a:solidFill>
                  <a:srgbClr val="C0C0C0"/>
                </a:solidFill>
                <a:latin typeface="Calibri" panose="020F0502020204030204" pitchFamily="34" charset="0"/>
                <a:ea typeface="MS PGothic"/>
              </a:rPr>
              <a:t>RETOUR AU SOMMAI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EA6DAABE-3C67-239C-0192-3C66345079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161BA69A-34B1-4987-87BB-96595F8152A2}" type="slidenum">
              <a:rPr/>
              <a:pPr algn="r" rtl="0"/>
              <a:t>3</a:t>
            </a:fld>
            <a:endParaRPr lang="fr-ca" dirty="0"/>
          </a:p>
        </p:txBody>
      </p:sp>
      <p:sp>
        <p:nvSpPr>
          <p:cNvPr id="3" name="Espace réservé du texte 5">
            <a:extLst>
              <a:ext uri="{FF2B5EF4-FFF2-40B4-BE49-F238E27FC236}">
                <a16:creationId xmlns:a16="http://schemas.microsoft.com/office/drawing/2014/main" id="{281D1952-963B-F06F-E601-83641F328A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44231" y="11477"/>
            <a:ext cx="3604347" cy="525071"/>
          </a:xfrm>
        </p:spPr>
        <p:txBody>
          <a:bodyPr tIns="72000" bIns="0"/>
          <a:lstStyle/>
          <a:p>
            <a:pPr marL="0" marR="0" lvl="0" indent="0" algn="r" defTabSz="544569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>
                <a:srgbClr val="008C53"/>
              </a:buClr>
              <a:buSzPct val="110000"/>
              <a:buFontTx/>
              <a:buNone/>
              <a:tabLst/>
              <a:defRPr/>
            </a:pPr>
            <a:r>
              <a:rPr kumimoji="0" lang="fr-ca" sz="1200" b="0" i="0" u="none" strike="noStrike" cap="none" normalizeH="0" baseline="0">
                <a:ln>
                  <a:noFill/>
                </a:ln>
                <a:solidFill>
                  <a:srgbClr val="008C53"/>
                </a:solidFill>
                <a:effectLst/>
                <a:uLnTx/>
                <a:uFillTx/>
                <a:latin typeface="Calibri Light" panose="020F0302020204030204" pitchFamily="34" charset="0"/>
                <a:ea typeface="ＭＳ Ｐゴシック" pitchFamily="-84" charset="-128"/>
                <a:cs typeface="Calibri Light" panose="020F0302020204030204" pitchFamily="34" charset="0"/>
                <a:sym typeface="Gotham-Medium"/>
              </a:rPr>
              <a:t>SECTION</a:t>
            </a:r>
            <a:r>
              <a:rPr kumimoji="0" lang="fr-ca" sz="1600" b="0" i="0" u="none" strike="noStrike" cap="none" normalizeH="0" baseline="0">
                <a:ln>
                  <a:noFill/>
                </a:ln>
                <a:solidFill>
                  <a:srgbClr val="008C53"/>
                </a:solidFill>
                <a:effectLst/>
                <a:uLnTx/>
                <a:uFillTx/>
                <a:latin typeface="Calibri Light" panose="020F0302020204030204" pitchFamily="34" charset="0"/>
                <a:ea typeface="ＭＳ Ｐゴシック" pitchFamily="-84" charset="-128"/>
                <a:cs typeface="Calibri Light" panose="020F0302020204030204" pitchFamily="34" charset="0"/>
                <a:sym typeface="Gotham-Medium"/>
              </a:rPr>
              <a:t> </a:t>
            </a:r>
            <a:r>
              <a:rPr kumimoji="0" lang="fr-ca" sz="1600" b="1" i="0" u="none" strike="noStrike" cap="none" normalizeH="0" baseline="0">
                <a:ln>
                  <a:noFill/>
                </a:ln>
                <a:solidFill>
                  <a:srgbClr val="008C53"/>
                </a:solidFill>
                <a:effectLst/>
                <a:uLnTx/>
                <a:uFillTx/>
                <a:latin typeface="Calibri"/>
                <a:ea typeface="ＭＳ Ｐゴシック" pitchFamily="-84" charset="-128"/>
                <a:cs typeface="Calibri Light" panose="020F0302020204030204" pitchFamily="34" charset="0"/>
                <a:sym typeface="Gotham-Medium"/>
              </a:rPr>
              <a:t>D</a:t>
            </a:r>
            <a:r>
              <a:rPr kumimoji="0" lang="fr-ca" sz="1200" b="1" i="0" u="none" strike="noStrike" cap="none" normalizeH="0" baseline="0">
                <a:ln>
                  <a:noFill/>
                </a:ln>
                <a:solidFill>
                  <a:srgbClr val="008C53"/>
                </a:solidFill>
                <a:effectLst/>
                <a:uLnTx/>
                <a:uFillTx/>
                <a:latin typeface="Calibri"/>
                <a:ea typeface="ＭＳ Ｐゴシック" pitchFamily="-84" charset="-128"/>
                <a:cs typeface="Calibri Light" panose="020F0302020204030204" pitchFamily="34" charset="0"/>
                <a:sym typeface="Gotham-Medium"/>
              </a:rPr>
              <a:t>-2</a:t>
            </a:r>
            <a:endParaRPr kumimoji="0" lang="fr-ca" sz="1800" b="1" i="0" u="none" strike="noStrike" kern="0" cap="none" spc="100" normalizeH="0" baseline="0" noProof="0" dirty="0">
              <a:ln>
                <a:noFill/>
              </a:ln>
              <a:solidFill>
                <a:srgbClr val="008C53"/>
              </a:solidFill>
              <a:effectLst/>
              <a:uLnTx/>
              <a:uFillTx/>
              <a:latin typeface="Calibri"/>
              <a:ea typeface="ＭＳ Ｐゴシック" pitchFamily="-84" charset="-128"/>
              <a:cs typeface="Calibri Light" panose="020F0302020204030204" pitchFamily="34" charset="0"/>
              <a:sym typeface="Gotham-Medium"/>
            </a:endParaRPr>
          </a:p>
          <a:p>
            <a:pPr marL="0" marR="0" lvl="0" indent="0" algn="r" defTabSz="544569" rtl="0" eaLnBrk="0" fontAlgn="base" latinLnBrk="0" hangingPunct="0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>
                <a:srgbClr val="008C53"/>
              </a:buClr>
              <a:buSzPct val="110000"/>
              <a:buFontTx/>
              <a:buNone/>
              <a:tabLst/>
              <a:defRPr/>
            </a:pPr>
            <a:r>
              <a:rPr kumimoji="0" lang="fr-ca" sz="1200" b="0" i="0" u="none" strike="noStrike" cap="none" normalizeH="0" baseline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ＭＳ Ｐゴシック" pitchFamily="-84" charset="-128"/>
                <a:cs typeface="Calibri Light" panose="020F0302020204030204" pitchFamily="34" charset="0"/>
                <a:sym typeface="Gotham-Medium"/>
              </a:rPr>
              <a:t>OFFRE DE SERVICE INTÉGRÉE</a:t>
            </a:r>
            <a:br>
              <a:rPr kumimoji="0" lang="fr-ca" sz="1200" b="0" i="0" u="none" strike="noStrike" kern="0" cap="none" spc="50" normalizeH="0" baseline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ＭＳ Ｐゴシック" pitchFamily="-84" charset="-128"/>
                <a:cs typeface="Calibri Light" panose="020F0302020204030204" pitchFamily="34" charset="0"/>
                <a:sym typeface="Gotham-Medium"/>
              </a:rPr>
            </a:br>
            <a:r>
              <a:rPr kumimoji="0" lang="fr-ca" sz="1050" b="1" i="0" u="none" strike="noStrike" cap="none" normalizeH="0" baseline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ＭＳ Ｐゴシック" pitchFamily="-84" charset="-128"/>
                <a:cs typeface="Calibri Light" panose="020F0302020204030204" pitchFamily="34" charset="0"/>
                <a:sym typeface="Gotham-Medium"/>
              </a:rPr>
              <a:t>SERVICES AUX ENTREPRISES</a:t>
            </a:r>
            <a:endParaRPr kumimoji="0" lang="fr-ca" sz="1100" b="1" i="0" u="none" strike="noStrike" kern="0" cap="none" spc="5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ＭＳ Ｐゴシック" pitchFamily="-84" charset="-128"/>
              <a:cs typeface="Calibri Light" panose="020F0302020204030204" pitchFamily="34" charset="0"/>
              <a:sym typeface="Gotham-Medium"/>
            </a:endParaRPr>
          </a:p>
        </p:txBody>
      </p:sp>
    </p:spTree>
    <p:extLst>
      <p:ext uri="{BB962C8B-B14F-4D97-AF65-F5344CB8AC3E}">
        <p14:creationId xmlns:p14="http://schemas.microsoft.com/office/powerpoint/2010/main" val="143036804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2DD3D64-E4EB-4EA2-8924-C64131807D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86A8FD72-1B69-BFE3-4C24-110C588D2E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61BA69A-34B1-4987-87BB-96595F8152A2}" type="slidenum">
              <a:rPr lang="fr-CA" smtClean="0"/>
              <a:pPr/>
              <a:t>4</a:t>
            </a:fld>
            <a:endParaRPr lang="fr-CA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2760A9A8-5825-9CA8-5983-BED8EFB846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CA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7EDFAE8-D3CB-FCF6-4BCA-FC94387BFA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1898" y="38952"/>
            <a:ext cx="12190476" cy="68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73111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02B229-A5EA-3F34-3AFC-C0DA9C7D4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A" sz="5200"/>
              <a:t>Ouverture de compte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BA8BDE8-56DB-B1DB-B3F9-CC4AFB972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92EEAE6-5B41-E503-E72F-E94475B1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6F3E46-F02B-4798-9A31-17038199D171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7312790-AEA5-1A9A-6F79-49FEAB82B9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D5A512-CCF9-7698-A8D1-13BA7A86B9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8A939F3-EF87-98BD-BC2D-EF20963234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8" name="Sous-titre 2">
            <a:extLst>
              <a:ext uri="{FF2B5EF4-FFF2-40B4-BE49-F238E27FC236}">
                <a16:creationId xmlns:a16="http://schemas.microsoft.com/office/drawing/2014/main" id="{76003DF3-3886-EF13-BBC7-52DAAA14597B}"/>
              </a:ext>
            </a:extLst>
          </p:cNvPr>
          <p:cNvSpPr txBox="1">
            <a:spLocks/>
          </p:cNvSpPr>
          <p:nvPr/>
        </p:nvSpPr>
        <p:spPr>
          <a:xfrm>
            <a:off x="1152525" y="1358153"/>
            <a:ext cx="9886950" cy="420618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 algn="l">
              <a:spcBef>
                <a:spcPts val="1000"/>
              </a:spcBef>
              <a:buFont typeface="Wingdings" panose="05000000000000000000" pitchFamily="2" charset="2"/>
              <a:buChar char="§"/>
            </a:pPr>
            <a:endParaRPr kumimoji="0" lang="fr-CA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800100" lvl="1" indent="-342900" algn="l"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kumimoji="0" lang="fr-CA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Utilisation de la plateforme en lign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CA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800100" lvl="1" indent="-342900" algn="l"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kumimoji="0" lang="fr-CA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éléphoner au 1-888-affaire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fr-CA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800100" lvl="1" indent="-342900" algn="l"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kumimoji="0" lang="fr-CA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  <a:hlinkClick r:id="rId2"/>
              </a:rPr>
              <a:t>Services financiers aux entreprises – Desjardins</a:t>
            </a:r>
            <a:endParaRPr kumimoji="0" lang="fr-CA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CA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  <a:p>
            <a:pPr marL="800100" lvl="1" indent="-342900" algn="l"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kumimoji="0" lang="fr-CA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élais d’ouverture : 3 jours avec documentation complète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E17525ED-C099-61F5-9B3A-3F14569B4A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37050" y="787444"/>
            <a:ext cx="1454849" cy="1194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44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02B229-A5EA-3F34-3AFC-C0DA9C7D4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A" sz="5200"/>
              <a:t>Services financiers aux entreprises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BA8BDE8-56DB-B1DB-B3F9-CC4AFB972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92EEAE6-5B41-E503-E72F-E94475B1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6F3E46-F02B-4798-9A31-17038199D171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7312790-AEA5-1A9A-6F79-49FEAB82B9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D5A512-CCF9-7698-A8D1-13BA7A86B9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8A939F3-EF87-98BD-BC2D-EF20963234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8" name="Sous-titre 2">
            <a:extLst>
              <a:ext uri="{FF2B5EF4-FFF2-40B4-BE49-F238E27FC236}">
                <a16:creationId xmlns:a16="http://schemas.microsoft.com/office/drawing/2014/main" id="{76003DF3-3886-EF13-BBC7-52DAAA14597B}"/>
              </a:ext>
            </a:extLst>
          </p:cNvPr>
          <p:cNvSpPr txBox="1">
            <a:spLocks/>
          </p:cNvSpPr>
          <p:nvPr/>
        </p:nvSpPr>
        <p:spPr>
          <a:xfrm>
            <a:off x="1045315" y="1528597"/>
            <a:ext cx="9144000" cy="33415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fr-CA" sz="24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A6832BCD-BCC2-919C-D984-D1EDBDEBA968}"/>
              </a:ext>
            </a:extLst>
          </p:cNvPr>
          <p:cNvSpPr txBox="1">
            <a:spLocks/>
          </p:cNvSpPr>
          <p:nvPr/>
        </p:nvSpPr>
        <p:spPr>
          <a:xfrm>
            <a:off x="1919536" y="1844824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inancement et prêt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artes de crédi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omptes et trésoreri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Assuranc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vestissement et placement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5FCDBE43-1BFD-CC5F-FFF3-7C0075A945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7221" y="3562497"/>
            <a:ext cx="1246315" cy="1985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63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02B229-A5EA-3F34-3AFC-C0DA9C7D4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A" sz="5200" err="1"/>
              <a:t>Créavenir</a:t>
            </a:r>
            <a:endParaRPr lang="fr-CA" sz="520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BA8BDE8-56DB-B1DB-B3F9-CC4AFB972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92EEAE6-5B41-E503-E72F-E94475B1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6F3E46-F02B-4798-9A31-17038199D171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7312790-AEA5-1A9A-6F79-49FEAB82B9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D5A512-CCF9-7698-A8D1-13BA7A86B9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 sz="2800"/>
              <a:t>Conditions d’admissibilité au programme </a:t>
            </a:r>
            <a:r>
              <a:rPr lang="fr-CA" sz="2800" err="1"/>
              <a:t>Créavenir</a:t>
            </a:r>
            <a:endParaRPr lang="fr-CA" sz="280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8A939F3-EF87-98BD-BC2D-EF20963234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8" name="Sous-titre 2">
            <a:extLst>
              <a:ext uri="{FF2B5EF4-FFF2-40B4-BE49-F238E27FC236}">
                <a16:creationId xmlns:a16="http://schemas.microsoft.com/office/drawing/2014/main" id="{76003DF3-3886-EF13-BBC7-52DAAA14597B}"/>
              </a:ext>
            </a:extLst>
          </p:cNvPr>
          <p:cNvSpPr txBox="1">
            <a:spLocks/>
          </p:cNvSpPr>
          <p:nvPr/>
        </p:nvSpPr>
        <p:spPr>
          <a:xfrm>
            <a:off x="1109382" y="1580119"/>
            <a:ext cx="10374406" cy="390628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fr-CA" sz="2800" b="0" i="0" u="none" strike="noStrike" kern="1200" cap="none" spc="0" normalizeH="0" baseline="0" noProof="0">
              <a:ln>
                <a:noFill/>
              </a:ln>
              <a:solidFill>
                <a:srgbClr val="2F2F2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914400" lvl="1" indent="-457200" algn="l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kumimoji="0" lang="fr-CA" sz="2800" b="0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voir entre </a:t>
            </a:r>
            <a:r>
              <a:rPr kumimoji="0" lang="fr-CA" sz="2800" b="1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18 et 39 ans</a:t>
            </a:r>
            <a:endParaRPr kumimoji="0" lang="fr-CA" sz="2800" b="0" i="0" u="none" strike="noStrike" kern="1200" cap="none" spc="0" normalizeH="0" baseline="0" noProof="0">
              <a:ln>
                <a:noFill/>
              </a:ln>
              <a:solidFill>
                <a:srgbClr val="2F2F2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914400" lvl="1" indent="-457200" algn="l">
              <a:spcBef>
                <a:spcPts val="1000"/>
              </a:spcBef>
              <a:buFont typeface="Wingdings" panose="05000000000000000000" pitchFamily="2" charset="2"/>
              <a:buChar char="§"/>
              <a:defRPr/>
            </a:pPr>
            <a:r>
              <a:rPr kumimoji="0" lang="fr-CA" sz="2800" b="0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Avoir un projet viable de démarrage d'entreprise ou de développement d'une entreprise existant </a:t>
            </a:r>
            <a:r>
              <a:rPr kumimoji="0" lang="fr-CA" sz="2800" b="1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depuis moins de 3 ans</a:t>
            </a:r>
            <a:endParaRPr kumimoji="0" lang="fr-CA" sz="2800" b="0" i="0" u="none" strike="noStrike" kern="1200" cap="none" spc="0" normalizeH="0" baseline="0" noProof="0">
              <a:ln>
                <a:noFill/>
              </a:ln>
              <a:solidFill>
                <a:srgbClr val="2F2F2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  <a:p>
            <a:pPr marL="914400" lvl="1" indent="-457200" algn="l">
              <a:spcBef>
                <a:spcPts val="1000"/>
              </a:spcBef>
              <a:buFont typeface="Wingdings" panose="05000000000000000000" pitchFamily="2" charset="2"/>
              <a:buChar char="§"/>
              <a:defRPr/>
            </a:pPr>
            <a:r>
              <a:rPr kumimoji="0" lang="fr-CA" sz="2800" b="0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Ne pas avoir accès au réseau conventionnel de crédit ou pas suffisamment pour réaliser votre projet</a:t>
            </a:r>
          </a:p>
          <a:p>
            <a:pPr marL="914400" lvl="1" indent="-457200" algn="l">
              <a:spcBef>
                <a:spcPts val="1000"/>
              </a:spcBef>
              <a:buFont typeface="Wingdings" panose="05000000000000000000" pitchFamily="2" charset="2"/>
              <a:buChar char="§"/>
              <a:defRPr/>
            </a:pPr>
            <a:r>
              <a:rPr kumimoji="0" lang="fr-CA" sz="2800" b="0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Aptos" panose="020B0004020202020204" pitchFamily="34" charset="0"/>
                <a:ea typeface="+mn-ea"/>
                <a:cs typeface="+mn-cs"/>
              </a:rPr>
              <a:t>Être membre d’une cais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fr-CA" sz="2800" b="0" i="0" u="none" strike="noStrike" kern="1200" cap="none" spc="0" normalizeH="0" baseline="0" noProof="0">
              <a:ln>
                <a:noFill/>
              </a:ln>
              <a:solidFill>
                <a:srgbClr val="2F2F2F"/>
              </a:solidFill>
              <a:effectLst/>
              <a:uLnTx/>
              <a:uFillTx/>
              <a:latin typeface="Aptos" panose="020B0004020202020204" pitchFamily="34" charset="0"/>
              <a:ea typeface="+mn-ea"/>
              <a:cs typeface="+mn-cs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0E43B7B7-6E0D-66E7-6AC8-C2D0E1C3B4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55705" y="941295"/>
            <a:ext cx="2809169" cy="82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472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02B229-A5EA-3F34-3AFC-C0DA9C7D4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A" sz="5200" err="1"/>
              <a:t>Créavenir</a:t>
            </a:r>
            <a:endParaRPr lang="fr-CA" sz="520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BA8BDE8-56DB-B1DB-B3F9-CC4AFB972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92EEAE6-5B41-E503-E72F-E94475B1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6F3E46-F02B-4798-9A31-17038199D171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7312790-AEA5-1A9A-6F79-49FEAB82B9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D5A512-CCF9-7698-A8D1-13BA7A86B9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 sz="2800"/>
              <a:t>Fonctionnement et bénéfice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8A939F3-EF87-98BD-BC2D-EF20963234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8" name="Sous-titre 2">
            <a:extLst>
              <a:ext uri="{FF2B5EF4-FFF2-40B4-BE49-F238E27FC236}">
                <a16:creationId xmlns:a16="http://schemas.microsoft.com/office/drawing/2014/main" id="{76003DF3-3886-EF13-BBC7-52DAAA14597B}"/>
              </a:ext>
            </a:extLst>
          </p:cNvPr>
          <p:cNvSpPr txBox="1">
            <a:spLocks/>
          </p:cNvSpPr>
          <p:nvPr/>
        </p:nvSpPr>
        <p:spPr>
          <a:xfrm>
            <a:off x="417494" y="1411199"/>
            <a:ext cx="11439146" cy="397995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fr-CA" sz="2600" b="1">
                <a:solidFill>
                  <a:prstClr val="black"/>
                </a:solidFill>
                <a:latin typeface="Aptos" panose="02110004020202020204"/>
              </a:rPr>
              <a:t>    </a:t>
            </a:r>
            <a:r>
              <a:rPr kumimoji="0" lang="fr-CA" sz="2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Fonctionnement :</a:t>
            </a:r>
          </a:p>
          <a:p>
            <a:pPr marL="800100" lvl="1" indent="-342900" algn="l">
              <a:spcBef>
                <a:spcPts val="1000"/>
              </a:spcBef>
              <a:buFont typeface="Wingdings" panose="05000000000000000000" pitchFamily="2" charset="2"/>
              <a:buChar char="§"/>
              <a:defRPr/>
            </a:pPr>
            <a:r>
              <a:rPr kumimoji="0" lang="fr-CA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oumettre votre plan d’affaires à l’organisme de développement local;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CA" b="1">
                <a:solidFill>
                  <a:prstClr val="black"/>
                </a:solidFill>
                <a:latin typeface="Aptos" panose="02110004020202020204"/>
              </a:rPr>
              <a:t>    </a:t>
            </a:r>
            <a:r>
              <a:rPr kumimoji="0" lang="fr-CA" sz="2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i votre projet est retenu :</a:t>
            </a:r>
          </a:p>
          <a:p>
            <a:pPr marL="914400" lvl="1" indent="-457200" algn="l">
              <a:spcBef>
                <a:spcPts val="1000"/>
              </a:spcBef>
              <a:buFont typeface="Wingdings" panose="05000000000000000000" pitchFamily="2" charset="2"/>
              <a:buChar char="§"/>
              <a:defRPr/>
            </a:pPr>
            <a:r>
              <a:rPr kumimoji="0" lang="fr-CA" sz="2400" b="0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Desjardins Sans"/>
                <a:ea typeface="+mn-ea"/>
                <a:cs typeface="+mn-cs"/>
              </a:rPr>
              <a:t>de l’accompagnement tout au long du démarrage de votre entreprise</a:t>
            </a:r>
          </a:p>
          <a:p>
            <a:pPr marL="914400" lvl="1" indent="-457200" algn="l">
              <a:spcBef>
                <a:spcPts val="1000"/>
              </a:spcBef>
              <a:buFont typeface="Wingdings" panose="05000000000000000000" pitchFamily="2" charset="2"/>
              <a:buChar char="§"/>
              <a:defRPr/>
            </a:pPr>
            <a:r>
              <a:rPr kumimoji="0" lang="fr-CA" sz="2400" b="0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Desjardins Sans"/>
                <a:ea typeface="+mn-ea"/>
                <a:cs typeface="+mn-cs"/>
              </a:rPr>
              <a:t>une </a:t>
            </a:r>
            <a:r>
              <a:rPr kumimoji="0" lang="fr-CA" sz="2400" b="1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Desjardins Sans"/>
                <a:ea typeface="+mn-ea"/>
                <a:cs typeface="+mn-cs"/>
              </a:rPr>
              <a:t>marge de crédit</a:t>
            </a:r>
            <a:r>
              <a:rPr kumimoji="0" lang="fr-CA" sz="2400" b="0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Desjardins Sans"/>
                <a:ea typeface="+mn-ea"/>
                <a:cs typeface="+mn-cs"/>
              </a:rPr>
              <a:t> allant jusqu’à 15 000 $, au taux préférentiel +0,5 % pour une période de 5 ans</a:t>
            </a:r>
          </a:p>
          <a:p>
            <a:pPr marL="914400" lvl="1" indent="-457200" algn="l">
              <a:spcBef>
                <a:spcPts val="1000"/>
              </a:spcBef>
              <a:buFont typeface="Wingdings" panose="05000000000000000000" pitchFamily="2" charset="2"/>
              <a:buChar char="§"/>
              <a:defRPr/>
            </a:pPr>
            <a:r>
              <a:rPr kumimoji="0" lang="fr-CA" sz="2400" b="0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Desjardins Sans"/>
                <a:ea typeface="+mn-ea"/>
                <a:cs typeface="+mn-cs"/>
              </a:rPr>
              <a:t>une </a:t>
            </a:r>
            <a:r>
              <a:rPr kumimoji="0" lang="fr-CA" sz="2400" b="1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Desjardins Sans"/>
                <a:ea typeface="+mn-ea"/>
                <a:cs typeface="+mn-cs"/>
              </a:rPr>
              <a:t>carte de crédit </a:t>
            </a:r>
            <a:r>
              <a:rPr kumimoji="0" lang="fr-CA" sz="2400" b="1" i="1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Desjardins Sans"/>
                <a:ea typeface="+mn-ea"/>
                <a:cs typeface="+mn-cs"/>
              </a:rPr>
              <a:t>Affaires</a:t>
            </a:r>
            <a:r>
              <a:rPr kumimoji="0" lang="fr-CA" sz="2400" b="0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Desjardins Sans"/>
                <a:ea typeface="+mn-ea"/>
                <a:cs typeface="+mn-cs"/>
              </a:rPr>
              <a:t> avec une limite de 1 000 $, au taux préférentiel +0,5 %</a:t>
            </a:r>
          </a:p>
          <a:p>
            <a:pPr marL="914400" lvl="1" indent="-457200" algn="l">
              <a:spcBef>
                <a:spcPts val="1000"/>
              </a:spcBef>
              <a:buFont typeface="Wingdings" panose="05000000000000000000" pitchFamily="2" charset="2"/>
              <a:buChar char="§"/>
              <a:defRPr/>
            </a:pPr>
            <a:r>
              <a:rPr kumimoji="0" lang="fr-CA" sz="2400" b="0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Desjardins Sans"/>
                <a:ea typeface="+mn-ea"/>
                <a:cs typeface="+mn-cs"/>
              </a:rPr>
              <a:t>une </a:t>
            </a:r>
            <a:r>
              <a:rPr kumimoji="0" lang="fr-CA" sz="2400" b="1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Desjardins Sans"/>
                <a:ea typeface="+mn-ea"/>
                <a:cs typeface="+mn-cs"/>
              </a:rPr>
              <a:t>subvention de 5 000 $ maximum</a:t>
            </a:r>
            <a:r>
              <a:rPr kumimoji="0" lang="fr-CA" sz="2400" b="0" i="0" u="none" strike="noStrike" kern="1200" cap="none" spc="0" normalizeH="0" baseline="0" noProof="0">
                <a:ln>
                  <a:noFill/>
                </a:ln>
                <a:solidFill>
                  <a:srgbClr val="2F2F2F"/>
                </a:solidFill>
                <a:effectLst/>
                <a:uLnTx/>
                <a:uFillTx/>
                <a:latin typeface="Desjardins Sans"/>
                <a:ea typeface="+mn-ea"/>
                <a:cs typeface="+mn-cs"/>
              </a:rPr>
              <a:t> (sous certaines conditions), utilisable comme mise de fonds pour accéder à d'autres sources de financement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6C730A6-6062-74C4-9F06-9938EF8D61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3166" y="749742"/>
            <a:ext cx="2843138" cy="830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85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B02B229-A5EA-3F34-3AFC-C0DA9C7D4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A" sz="5200"/>
              <a:t>Fonds C</a:t>
            </a:r>
            <a:endParaRPr lang="fr-CA" sz="5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BA8BDE8-56DB-B1DB-B3F9-CC4AFB9726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92EEAE6-5B41-E503-E72F-E94475B1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6F3E46-F02B-4798-9A31-17038199D171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srgbClr val="38383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38383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D5A512-CCF9-7698-A8D1-13BA7A86B9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CA" sz="2600"/>
              <a:t>Appui financier pour les projets de croissance jusqu’à 5 000 $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98A939F3-EF87-98BD-BC2D-EF20963234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8" name="Sous-titre 2">
            <a:extLst>
              <a:ext uri="{FF2B5EF4-FFF2-40B4-BE49-F238E27FC236}">
                <a16:creationId xmlns:a16="http://schemas.microsoft.com/office/drawing/2014/main" id="{76003DF3-3886-EF13-BBC7-52DAAA14597B}"/>
              </a:ext>
            </a:extLst>
          </p:cNvPr>
          <p:cNvSpPr txBox="1">
            <a:spLocks/>
          </p:cNvSpPr>
          <p:nvPr/>
        </p:nvSpPr>
        <p:spPr>
          <a:xfrm>
            <a:off x="2100865" y="1257444"/>
            <a:ext cx="8123256" cy="434311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fr-CA" sz="2400" b="0" i="0" u="none" strike="noStrike" kern="1200" cap="none" spc="0" normalizeH="0" baseline="0" noProof="0">
              <a:ln>
                <a:noFill/>
              </a:ln>
              <a:solidFill>
                <a:srgbClr val="2F2F2F"/>
              </a:solidFill>
              <a:effectLst/>
              <a:uLnTx/>
              <a:uFillTx/>
              <a:latin typeface="Desjardins Sans"/>
              <a:ea typeface="+mn-ea"/>
              <a:cs typeface="+mn-cs"/>
            </a:endParaRP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554EDB6A-883D-BDA2-0D76-B476DC2DC19F}"/>
              </a:ext>
            </a:extLst>
          </p:cNvPr>
          <p:cNvSpPr txBox="1">
            <a:spLocks/>
          </p:cNvSpPr>
          <p:nvPr/>
        </p:nvSpPr>
        <p:spPr>
          <a:xfrm>
            <a:off x="2420481" y="1297459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Innova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lève d’entrepris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éveloppement des marchés et des fournisseur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Ressources humain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éveloppement durabl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Transformation numériqu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Optimisation du modèle d’affair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Cybersécurité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CA" sz="26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Gouvernanc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606C28D-1ECB-3308-A49F-91A6AC9C91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8378" y="841843"/>
            <a:ext cx="2451486" cy="1020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918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Desjardins FR">
  <a:themeElements>
    <a:clrScheme name="Desjardins 2021">
      <a:dk1>
        <a:srgbClr val="383838"/>
      </a:dk1>
      <a:lt1>
        <a:srgbClr val="FFFFFF"/>
      </a:lt1>
      <a:dk2>
        <a:srgbClr val="000000"/>
      </a:dk2>
      <a:lt2>
        <a:srgbClr val="F6F6F6"/>
      </a:lt2>
      <a:accent1>
        <a:srgbClr val="00874E"/>
      </a:accent1>
      <a:accent2>
        <a:srgbClr val="A8B3B2"/>
      </a:accent2>
      <a:accent3>
        <a:srgbClr val="69B4C5"/>
      </a:accent3>
      <a:accent4>
        <a:srgbClr val="8EC9A9"/>
      </a:accent4>
      <a:accent5>
        <a:srgbClr val="6B7987"/>
      </a:accent5>
      <a:accent6>
        <a:srgbClr val="F6C93C"/>
      </a:accent6>
      <a:hlink>
        <a:srgbClr val="00874E"/>
      </a:hlink>
      <a:folHlink>
        <a:srgbClr val="8EC9A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108000" rIns="108000" rtlCol="0" anchor="ctr"/>
      <a:lstStyle>
        <a:defPPr algn="ctr">
          <a:lnSpc>
            <a:spcPct val="90000"/>
          </a:lnSpc>
          <a:spcBef>
            <a:spcPts val="1400"/>
          </a:spcBef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 marL="298800" indent="-216000" algn="l">
          <a:spcBef>
            <a:spcPts val="1400"/>
          </a:spcBef>
          <a:buClr>
            <a:schemeClr val="accent1"/>
          </a:buClr>
          <a:buFont typeface="Calibri" panose="020F0502020204030204" pitchFamily="34" charset="0"/>
          <a:buChar char="•"/>
          <a:defRPr sz="2000" dirty="0"/>
        </a:defPPr>
      </a:lstStyle>
    </a:txDef>
  </a:objectDefaults>
  <a:extraClrSchemeLst/>
  <a:custClrLst>
    <a:custClr name="Vert">
      <a:srgbClr val="00874E"/>
    </a:custClr>
    <a:custClr name="Jaune">
      <a:srgbClr val="F6C93C"/>
    </a:custClr>
    <a:custClr name="Rouge">
      <a:srgbClr val="CA241A"/>
    </a:custClr>
  </a:custClrLst>
  <a:extLst>
    <a:ext uri="{05A4C25C-085E-4340-85A3-A5531E510DB2}">
      <thm15:themeFamily xmlns:thm15="http://schemas.microsoft.com/office/thememl/2012/main" name="Desjardins (FR-20210531).potx" id="{E777FE59-2A5D-4723-8EF7-907AAA881038}" vid="{D16D0C0B-B14A-4686-9040-64A4796A7176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4</TotalTime>
  <Words>405</Words>
  <Application>Microsoft Office PowerPoint</Application>
  <PresentationFormat>Grand écran</PresentationFormat>
  <Paragraphs>77</Paragraphs>
  <Slides>1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22" baseType="lpstr">
      <vt:lpstr>ＭＳ Ｐゴシック</vt:lpstr>
      <vt:lpstr>Aptos</vt:lpstr>
      <vt:lpstr>Aptos Display</vt:lpstr>
      <vt:lpstr>Arial</vt:lpstr>
      <vt:lpstr>Calibri</vt:lpstr>
      <vt:lpstr>Calibri Light</vt:lpstr>
      <vt:lpstr>Desjardins Sans</vt:lpstr>
      <vt:lpstr>Wingdings</vt:lpstr>
      <vt:lpstr>Thème Office</vt:lpstr>
      <vt:lpstr>Desjardins FR</vt:lpstr>
      <vt:lpstr>Diapositive think-cell</vt:lpstr>
      <vt:lpstr>Présentation PowerPoint</vt:lpstr>
      <vt:lpstr>Nos emplacements</vt:lpstr>
      <vt:lpstr>Services aux entreprises Le Centre d’affaires, Services aux entreprises  en un coup d’œil </vt:lpstr>
      <vt:lpstr>Présentation PowerPoint</vt:lpstr>
      <vt:lpstr>Ouverture de comptes</vt:lpstr>
      <vt:lpstr>Services financiers aux entreprises</vt:lpstr>
      <vt:lpstr>Créavenir</vt:lpstr>
      <vt:lpstr>Créavenir</vt:lpstr>
      <vt:lpstr>Fonds C</vt:lpstr>
      <vt:lpstr>Présentation PowerPoint</vt:lpstr>
      <vt:lpstr>Période de question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uno Fournier</dc:creator>
  <cp:lastModifiedBy>Bruno Fournier</cp:lastModifiedBy>
  <cp:revision>2</cp:revision>
  <dcterms:created xsi:type="dcterms:W3CDTF">2024-11-13T14:04:06Z</dcterms:created>
  <dcterms:modified xsi:type="dcterms:W3CDTF">2024-11-14T13:3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9694e0f-943f-4e6f-bf55-6e34fbc91307_Enabled">
    <vt:lpwstr>true</vt:lpwstr>
  </property>
  <property fmtid="{D5CDD505-2E9C-101B-9397-08002B2CF9AE}" pid="3" name="MSIP_Label_a9694e0f-943f-4e6f-bf55-6e34fbc91307_SetDate">
    <vt:lpwstr>2024-11-13T14:40:18Z</vt:lpwstr>
  </property>
  <property fmtid="{D5CDD505-2E9C-101B-9397-08002B2CF9AE}" pid="4" name="MSIP_Label_a9694e0f-943f-4e6f-bf55-6e34fbc91307_Method">
    <vt:lpwstr>Standard</vt:lpwstr>
  </property>
  <property fmtid="{D5CDD505-2E9C-101B-9397-08002B2CF9AE}" pid="5" name="MSIP_Label_a9694e0f-943f-4e6f-bf55-6e34fbc91307_Name">
    <vt:lpwstr>Usage interne</vt:lpwstr>
  </property>
  <property fmtid="{D5CDD505-2E9C-101B-9397-08002B2CF9AE}" pid="6" name="MSIP_Label_a9694e0f-943f-4e6f-bf55-6e34fbc91307_SiteId">
    <vt:lpwstr>728d20a5-0b44-47dd-9470-20f37cbf2d9a</vt:lpwstr>
  </property>
  <property fmtid="{D5CDD505-2E9C-101B-9397-08002B2CF9AE}" pid="7" name="MSIP_Label_a9694e0f-943f-4e6f-bf55-6e34fbc91307_ActionId">
    <vt:lpwstr>34c23901-5cd3-47aa-b05c-9dcbb7ddf05b</vt:lpwstr>
  </property>
  <property fmtid="{D5CDD505-2E9C-101B-9397-08002B2CF9AE}" pid="8" name="MSIP_Label_a9694e0f-943f-4e6f-bf55-6e34fbc91307_ContentBits">
    <vt:lpwstr>0</vt:lpwstr>
  </property>
</Properties>
</file>